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7"/>
  </p:notesMasterIdLst>
  <p:sldIdLst>
    <p:sldId id="2146847885" r:id="rId5"/>
    <p:sldId id="2146848149" r:id="rId6"/>
    <p:sldId id="2146848140" r:id="rId7"/>
    <p:sldId id="2146847990" r:id="rId8"/>
    <p:sldId id="2146847996" r:id="rId9"/>
    <p:sldId id="2146847997" r:id="rId10"/>
    <p:sldId id="2146848150" r:id="rId11"/>
    <p:sldId id="2146848151" r:id="rId12"/>
    <p:sldId id="2146848154" r:id="rId13"/>
    <p:sldId id="2146848169" r:id="rId14"/>
    <p:sldId id="2146848156" r:id="rId15"/>
    <p:sldId id="2146847992" r:id="rId16"/>
    <p:sldId id="2146848152" r:id="rId17"/>
    <p:sldId id="2146848153" r:id="rId18"/>
    <p:sldId id="2146848157" r:id="rId19"/>
    <p:sldId id="2146848158" r:id="rId20"/>
    <p:sldId id="2146848159" r:id="rId21"/>
    <p:sldId id="2146848160" r:id="rId22"/>
    <p:sldId id="2146848161" r:id="rId23"/>
    <p:sldId id="2146848167" r:id="rId24"/>
    <p:sldId id="2146848162" r:id="rId25"/>
    <p:sldId id="2146846469" r:id="rId26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hnson Ruíz de Ojeda, Jaime (SI)" initials="JRdOJ(" lastIdx="19" clrIdx="0">
    <p:extLst>
      <p:ext uri="{19B8F6BF-5375-455C-9EA6-DF929625EA0E}">
        <p15:presenceInfo xmlns:p15="http://schemas.microsoft.com/office/powerpoint/2012/main" userId="S::jjohnson@navantia.es::797c0659-df8b-4285-a574-276d567a7d46" providerId="AD"/>
      </p:ext>
    </p:extLst>
  </p:cmAuthor>
  <p:cmAuthor id="2" name="Cueva García, Juan Ignacio de la (MA)" initials="CGJIdl(" lastIdx="3" clrIdx="1">
    <p:extLst>
      <p:ext uri="{19B8F6BF-5375-455C-9EA6-DF929625EA0E}">
        <p15:presenceInfo xmlns:p15="http://schemas.microsoft.com/office/powerpoint/2012/main" userId="S::jidelacueva@navantia.es::f9771e69-4605-4953-9456-2f3a2fef44f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A5C6"/>
    <a:srgbClr val="172C56"/>
    <a:srgbClr val="FFCC99"/>
    <a:srgbClr val="070E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286" autoAdjust="0"/>
    <p:restoredTop sz="84885" autoAdjust="0"/>
  </p:normalViewPr>
  <p:slideViewPr>
    <p:cSldViewPr snapToGrid="0">
      <p:cViewPr varScale="1">
        <p:scale>
          <a:sx n="97" d="100"/>
          <a:sy n="97" d="100"/>
        </p:scale>
        <p:origin x="924" y="7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íaz Díaz, Jaime (CA)" userId="1ef9023e-7d97-4846-80cf-637d79e78d9d" providerId="ADAL" clId="{35542257-DCA0-4FE0-A5B8-269BB0B14F1C}"/>
    <pc:docChg chg="undo custSel addSld delSld modSld">
      <pc:chgData name="Díaz Díaz, Jaime (CA)" userId="1ef9023e-7d97-4846-80cf-637d79e78d9d" providerId="ADAL" clId="{35542257-DCA0-4FE0-A5B8-269BB0B14F1C}" dt="2023-05-18T16:58:46.515" v="50" actId="1076"/>
      <pc:docMkLst>
        <pc:docMk/>
      </pc:docMkLst>
      <pc:sldChg chg="delSp modSp mod">
        <pc:chgData name="Díaz Díaz, Jaime (CA)" userId="1ef9023e-7d97-4846-80cf-637d79e78d9d" providerId="ADAL" clId="{35542257-DCA0-4FE0-A5B8-269BB0B14F1C}" dt="2023-05-18T16:57:58.678" v="42" actId="20577"/>
        <pc:sldMkLst>
          <pc:docMk/>
          <pc:sldMk cId="529671029" sldId="2146847885"/>
        </pc:sldMkLst>
        <pc:spChg chg="mod">
          <ac:chgData name="Díaz Díaz, Jaime (CA)" userId="1ef9023e-7d97-4846-80cf-637d79e78d9d" providerId="ADAL" clId="{35542257-DCA0-4FE0-A5B8-269BB0B14F1C}" dt="2023-05-18T16:56:45.001" v="28" actId="1076"/>
          <ac:spMkLst>
            <pc:docMk/>
            <pc:sldMk cId="529671029" sldId="2146847885"/>
            <ac:spMk id="7" creationId="{CCF53942-C68F-4105-8FE3-314362D10CA2}"/>
          </ac:spMkLst>
        </pc:spChg>
        <pc:spChg chg="mod">
          <ac:chgData name="Díaz Díaz, Jaime (CA)" userId="1ef9023e-7d97-4846-80cf-637d79e78d9d" providerId="ADAL" clId="{35542257-DCA0-4FE0-A5B8-269BB0B14F1C}" dt="2023-05-18T16:57:58.678" v="42" actId="20577"/>
          <ac:spMkLst>
            <pc:docMk/>
            <pc:sldMk cId="529671029" sldId="2146847885"/>
            <ac:spMk id="9" creationId="{935B172E-4C7C-4434-9930-47C6896606DE}"/>
          </ac:spMkLst>
        </pc:spChg>
        <pc:picChg chg="del">
          <ac:chgData name="Díaz Díaz, Jaime (CA)" userId="1ef9023e-7d97-4846-80cf-637d79e78d9d" providerId="ADAL" clId="{35542257-DCA0-4FE0-A5B8-269BB0B14F1C}" dt="2023-05-18T16:56:51.257" v="29" actId="478"/>
          <ac:picMkLst>
            <pc:docMk/>
            <pc:sldMk cId="529671029" sldId="2146847885"/>
            <ac:picMk id="3" creationId="{7F19CF79-FFE7-477E-9351-542464DE7913}"/>
          </ac:picMkLst>
        </pc:picChg>
      </pc:sldChg>
      <pc:sldChg chg="del">
        <pc:chgData name="Díaz Díaz, Jaime (CA)" userId="1ef9023e-7d97-4846-80cf-637d79e78d9d" providerId="ADAL" clId="{35542257-DCA0-4FE0-A5B8-269BB0B14F1C}" dt="2023-05-18T16:57:28.245" v="33" actId="47"/>
        <pc:sldMkLst>
          <pc:docMk/>
          <pc:sldMk cId="1262677270" sldId="2146847933"/>
        </pc:sldMkLst>
      </pc:sldChg>
      <pc:sldChg chg="del">
        <pc:chgData name="Díaz Díaz, Jaime (CA)" userId="1ef9023e-7d97-4846-80cf-637d79e78d9d" providerId="ADAL" clId="{35542257-DCA0-4FE0-A5B8-269BB0B14F1C}" dt="2023-05-18T16:57:25.984" v="30" actId="47"/>
        <pc:sldMkLst>
          <pc:docMk/>
          <pc:sldMk cId="849952405" sldId="2146847985"/>
        </pc:sldMkLst>
      </pc:sldChg>
      <pc:sldChg chg="del">
        <pc:chgData name="Díaz Díaz, Jaime (CA)" userId="1ef9023e-7d97-4846-80cf-637d79e78d9d" providerId="ADAL" clId="{35542257-DCA0-4FE0-A5B8-269BB0B14F1C}" dt="2023-05-18T16:57:26.826" v="31" actId="47"/>
        <pc:sldMkLst>
          <pc:docMk/>
          <pc:sldMk cId="298131623" sldId="2146847986"/>
        </pc:sldMkLst>
      </pc:sldChg>
      <pc:sldChg chg="del">
        <pc:chgData name="Díaz Díaz, Jaime (CA)" userId="1ef9023e-7d97-4846-80cf-637d79e78d9d" providerId="ADAL" clId="{35542257-DCA0-4FE0-A5B8-269BB0B14F1C}" dt="2023-05-18T16:57:27.525" v="32" actId="47"/>
        <pc:sldMkLst>
          <pc:docMk/>
          <pc:sldMk cId="2401749373" sldId="2146847987"/>
        </pc:sldMkLst>
      </pc:sldChg>
      <pc:sldChg chg="del">
        <pc:chgData name="Díaz Díaz, Jaime (CA)" userId="1ef9023e-7d97-4846-80cf-637d79e78d9d" providerId="ADAL" clId="{35542257-DCA0-4FE0-A5B8-269BB0B14F1C}" dt="2023-05-18T16:57:28.890" v="34" actId="47"/>
        <pc:sldMkLst>
          <pc:docMk/>
          <pc:sldMk cId="2980375432" sldId="2146847988"/>
        </pc:sldMkLst>
      </pc:sldChg>
      <pc:sldChg chg="del">
        <pc:chgData name="Díaz Díaz, Jaime (CA)" userId="1ef9023e-7d97-4846-80cf-637d79e78d9d" providerId="ADAL" clId="{35542257-DCA0-4FE0-A5B8-269BB0B14F1C}" dt="2023-05-18T16:57:29.554" v="35" actId="47"/>
        <pc:sldMkLst>
          <pc:docMk/>
          <pc:sldMk cId="3400100394" sldId="2146847991"/>
        </pc:sldMkLst>
      </pc:sldChg>
      <pc:sldChg chg="del">
        <pc:chgData name="Díaz Díaz, Jaime (CA)" userId="1ef9023e-7d97-4846-80cf-637d79e78d9d" providerId="ADAL" clId="{35542257-DCA0-4FE0-A5B8-269BB0B14F1C}" dt="2023-05-18T16:56:24.858" v="5" actId="47"/>
        <pc:sldMkLst>
          <pc:docMk/>
          <pc:sldMk cId="1438930913" sldId="2146848032"/>
        </pc:sldMkLst>
      </pc:sldChg>
      <pc:sldChg chg="modSp mod">
        <pc:chgData name="Díaz Díaz, Jaime (CA)" userId="1ef9023e-7d97-4846-80cf-637d79e78d9d" providerId="ADAL" clId="{35542257-DCA0-4FE0-A5B8-269BB0B14F1C}" dt="2023-05-18T16:58:46.515" v="50" actId="1076"/>
        <pc:sldMkLst>
          <pc:docMk/>
          <pc:sldMk cId="3576806615" sldId="2146848151"/>
        </pc:sldMkLst>
        <pc:picChg chg="mod ord">
          <ac:chgData name="Díaz Díaz, Jaime (CA)" userId="1ef9023e-7d97-4846-80cf-637d79e78d9d" providerId="ADAL" clId="{35542257-DCA0-4FE0-A5B8-269BB0B14F1C}" dt="2023-05-18T16:58:46.515" v="50" actId="1076"/>
          <ac:picMkLst>
            <pc:docMk/>
            <pc:sldMk cId="3576806615" sldId="2146848151"/>
            <ac:picMk id="47" creationId="{D84D3380-1AD9-0A95-E76E-CB55A506AF1F}"/>
          </ac:picMkLst>
        </pc:picChg>
      </pc:sldChg>
      <pc:sldChg chg="add del">
        <pc:chgData name="Díaz Díaz, Jaime (CA)" userId="1ef9023e-7d97-4846-80cf-637d79e78d9d" providerId="ADAL" clId="{35542257-DCA0-4FE0-A5B8-269BB0B14F1C}" dt="2023-05-18T16:54:24.974" v="4" actId="47"/>
        <pc:sldMkLst>
          <pc:docMk/>
          <pc:sldMk cId="1229225474" sldId="2146848153"/>
        </pc:sldMkLst>
      </pc:sldChg>
      <pc:sldChg chg="add del">
        <pc:chgData name="Díaz Díaz, Jaime (CA)" userId="1ef9023e-7d97-4846-80cf-637d79e78d9d" providerId="ADAL" clId="{35542257-DCA0-4FE0-A5B8-269BB0B14F1C}" dt="2023-05-18T16:54:23.211" v="3" actId="47"/>
        <pc:sldMkLst>
          <pc:docMk/>
          <pc:sldMk cId="3866271427" sldId="2146848157"/>
        </pc:sldMkLst>
      </pc:sldChg>
      <pc:sldChg chg="del">
        <pc:chgData name="Díaz Díaz, Jaime (CA)" userId="1ef9023e-7d97-4846-80cf-637d79e78d9d" providerId="ADAL" clId="{35542257-DCA0-4FE0-A5B8-269BB0B14F1C}" dt="2023-05-18T16:54:11.720" v="0" actId="47"/>
        <pc:sldMkLst>
          <pc:docMk/>
          <pc:sldMk cId="385825886" sldId="2146848172"/>
        </pc:sldMkLst>
      </pc:sldChg>
      <pc:sldMasterChg chg="delSldLayout">
        <pc:chgData name="Díaz Díaz, Jaime (CA)" userId="1ef9023e-7d97-4846-80cf-637d79e78d9d" providerId="ADAL" clId="{35542257-DCA0-4FE0-A5B8-269BB0B14F1C}" dt="2023-05-18T16:56:24.858" v="5" actId="47"/>
        <pc:sldMasterMkLst>
          <pc:docMk/>
          <pc:sldMasterMk cId="3851746033" sldId="2147483648"/>
        </pc:sldMasterMkLst>
        <pc:sldLayoutChg chg="del">
          <pc:chgData name="Díaz Díaz, Jaime (CA)" userId="1ef9023e-7d97-4846-80cf-637d79e78d9d" providerId="ADAL" clId="{35542257-DCA0-4FE0-A5B8-269BB0B14F1C}" dt="2023-05-18T16:56:24.858" v="5" actId="47"/>
          <pc:sldLayoutMkLst>
            <pc:docMk/>
            <pc:sldMasterMk cId="3851746033" sldId="2147483648"/>
            <pc:sldLayoutMk cId="498702824" sldId="2147483659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DCFEF0-67CF-8B40-AA79-EB1B6FB981CD}" type="datetimeFigureOut">
              <a:t>18/0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63764C-EB33-044F-849B-498E4F179E6C}" type="slidenum"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0503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Tahoma" pitchFamily="34" charset="0"/>
                <a:sym typeface="+mn-lt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Tahoma" pitchFamily="34" charset="0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Tahoma" pitchFamily="34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311213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Tahoma" pitchFamily="34" charset="0"/>
                <a:sym typeface="+mn-lt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Tahoma" pitchFamily="34" charset="0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Tahoma" pitchFamily="34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137812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57570" lvl="1" indent="-285750">
              <a:spcAft>
                <a:spcPts val="600"/>
              </a:spcAft>
              <a:buClr>
                <a:srgbClr val="005DB6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326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goal of the Safety Milestones Management Plan is to establish a framework enabling to verify that the construction and testing process of the S-80 Submarine is done in such a way that it is possible to guarantee an ALARP risk level.</a:t>
            </a:r>
          </a:p>
          <a:p>
            <a:pPr marL="357570" lvl="1" indent="-285750">
              <a:spcAft>
                <a:spcPts val="600"/>
              </a:spcAft>
              <a:buClr>
                <a:srgbClr val="005DB6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326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is process will enable obtaining the corresponding formal authorizations to perform each Safety Milestone and continuing with the construction and testing process of the submarine until final delivery.</a:t>
            </a:r>
          </a:p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63764C-EB33-044F-849B-498E4F179E6C}" type="slidenum">
              <a:rPr lang="es-ES" smtClean="0"/>
              <a:t>1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727395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69097" y="3240646"/>
            <a:ext cx="9144000" cy="2387600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ts val="6000"/>
              </a:lnSpc>
              <a:defRPr sz="7000" cap="all" baseline="0">
                <a:solidFill>
                  <a:schemeClr val="bg1"/>
                </a:solidFill>
                <a:latin typeface="GarageGothic-Bold" panose="02000808030000020004" pitchFamily="2" charset="0"/>
              </a:defRPr>
            </a:lvl1pPr>
          </a:lstStyle>
          <a:p>
            <a:r>
              <a:rPr lang="en-US"/>
              <a:t>Continuing our </a:t>
            </a:r>
            <a:br>
              <a:rPr lang="en-US"/>
            </a:br>
            <a:r>
              <a:rPr lang="en-US"/>
              <a:t>partnership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69097" y="5720321"/>
            <a:ext cx="9144000" cy="689669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2000"/>
              </a:lnSpc>
              <a:buNone/>
              <a:defRPr sz="2400">
                <a:solidFill>
                  <a:schemeClr val="bg1"/>
                </a:solidFill>
                <a:latin typeface="Gotham Book" pitchFamily="50" charset="0"/>
                <a:cs typeface="Gotham Book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AUSTRALIA’s CONTINUOUS </a:t>
            </a:r>
          </a:p>
          <a:p>
            <a:r>
              <a:rPr lang="en-GB" err="1"/>
              <a:t>NAVAl</a:t>
            </a:r>
            <a:r>
              <a:rPr lang="en-GB"/>
              <a:t> SHIPBUILDING PROGRAM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DD7F80A3-8569-451A-8092-EE8E40D2E4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-656"/>
            <a:ext cx="12190836" cy="685865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129BB89E-B75E-43B5-B114-0F7C8C484622}"/>
              </a:ext>
            </a:extLst>
          </p:cNvPr>
          <p:cNvSpPr/>
          <p:nvPr userDrawn="1"/>
        </p:nvSpPr>
        <p:spPr>
          <a:xfrm>
            <a:off x="-1163" y="0"/>
            <a:ext cx="12191999" cy="6858000"/>
          </a:xfrm>
          <a:prstGeom prst="rect">
            <a:avLst/>
          </a:prstGeom>
          <a:solidFill>
            <a:schemeClr val="accent1"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es-E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0686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D2DBD4AC-9786-4AC9-9D91-8199CF282713}"/>
              </a:ext>
            </a:extLst>
          </p:cNvPr>
          <p:cNvGrpSpPr/>
          <p:nvPr userDrawn="1"/>
        </p:nvGrpSpPr>
        <p:grpSpPr>
          <a:xfrm>
            <a:off x="8610600" y="361950"/>
            <a:ext cx="3642118" cy="282575"/>
            <a:chOff x="8610600" y="361950"/>
            <a:chExt cx="3642118" cy="282575"/>
          </a:xfrm>
        </p:grpSpPr>
        <p:grpSp>
          <p:nvGrpSpPr>
            <p:cNvPr id="4" name="Group 4">
              <a:extLst>
                <a:ext uri="{FF2B5EF4-FFF2-40B4-BE49-F238E27FC236}">
                  <a16:creationId xmlns:a16="http://schemas.microsoft.com/office/drawing/2014/main" id="{17050210-EF88-42C1-9248-955B7ACE846E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8610600" y="361950"/>
              <a:ext cx="2779713" cy="282575"/>
              <a:chOff x="5424" y="230"/>
              <a:chExt cx="1751" cy="178"/>
            </a:xfrm>
          </p:grpSpPr>
          <p:sp>
            <p:nvSpPr>
              <p:cNvPr id="5" name="AutoShape 3">
                <a:extLst>
                  <a:ext uri="{FF2B5EF4-FFF2-40B4-BE49-F238E27FC236}">
                    <a16:creationId xmlns:a16="http://schemas.microsoft.com/office/drawing/2014/main" id="{78AFA7A1-179D-4F3F-94DE-6C03F24DE494}"/>
                  </a:ext>
                </a:extLst>
              </p:cNvPr>
              <p:cNvSpPr>
                <a:spLocks noChangeAspect="1" noChangeArrowheads="1" noTextEdit="1"/>
              </p:cNvSpPr>
              <p:nvPr userDrawn="1"/>
            </p:nvSpPr>
            <p:spPr bwMode="auto">
              <a:xfrm>
                <a:off x="5424" y="230"/>
                <a:ext cx="1751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" name="Freeform 5">
                <a:extLst>
                  <a:ext uri="{FF2B5EF4-FFF2-40B4-BE49-F238E27FC236}">
                    <a16:creationId xmlns:a16="http://schemas.microsoft.com/office/drawing/2014/main" id="{EBA67428-015C-46B6-AEB0-D71A0F00EE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26" y="230"/>
                <a:ext cx="1751" cy="180"/>
              </a:xfrm>
              <a:custGeom>
                <a:avLst/>
                <a:gdLst>
                  <a:gd name="T0" fmla="*/ 92 w 1751"/>
                  <a:gd name="T1" fmla="*/ 0 h 180"/>
                  <a:gd name="T2" fmla="*/ 0 w 1751"/>
                  <a:gd name="T3" fmla="*/ 90 h 180"/>
                  <a:gd name="T4" fmla="*/ 92 w 1751"/>
                  <a:gd name="T5" fmla="*/ 180 h 180"/>
                  <a:gd name="T6" fmla="*/ 1751 w 1751"/>
                  <a:gd name="T7" fmla="*/ 180 h 180"/>
                  <a:gd name="T8" fmla="*/ 1751 w 1751"/>
                  <a:gd name="T9" fmla="*/ 0 h 180"/>
                  <a:gd name="T10" fmla="*/ 92 w 1751"/>
                  <a:gd name="T11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51" h="180">
                    <a:moveTo>
                      <a:pt x="92" y="0"/>
                    </a:moveTo>
                    <a:lnTo>
                      <a:pt x="0" y="90"/>
                    </a:lnTo>
                    <a:lnTo>
                      <a:pt x="92" y="180"/>
                    </a:lnTo>
                    <a:lnTo>
                      <a:pt x="1751" y="180"/>
                    </a:lnTo>
                    <a:lnTo>
                      <a:pt x="1751" y="0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0029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9" name="Group 4">
              <a:extLst>
                <a:ext uri="{FF2B5EF4-FFF2-40B4-BE49-F238E27FC236}">
                  <a16:creationId xmlns:a16="http://schemas.microsoft.com/office/drawing/2014/main" id="{4CF12F7E-4B1B-4319-8BFC-1498E4A3EECB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9473005" y="361950"/>
              <a:ext cx="2779713" cy="282575"/>
              <a:chOff x="5424" y="230"/>
              <a:chExt cx="1751" cy="178"/>
            </a:xfrm>
          </p:grpSpPr>
          <p:sp>
            <p:nvSpPr>
              <p:cNvPr id="10" name="AutoShape 3">
                <a:extLst>
                  <a:ext uri="{FF2B5EF4-FFF2-40B4-BE49-F238E27FC236}">
                    <a16:creationId xmlns:a16="http://schemas.microsoft.com/office/drawing/2014/main" id="{5D7271AE-4301-4F5D-8744-F9228C22DA1C}"/>
                  </a:ext>
                </a:extLst>
              </p:cNvPr>
              <p:cNvSpPr>
                <a:spLocks noChangeAspect="1" noChangeArrowheads="1" noTextEdit="1"/>
              </p:cNvSpPr>
              <p:nvPr userDrawn="1"/>
            </p:nvSpPr>
            <p:spPr bwMode="auto">
              <a:xfrm>
                <a:off x="5424" y="230"/>
                <a:ext cx="1751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" name="Freeform 5">
                <a:extLst>
                  <a:ext uri="{FF2B5EF4-FFF2-40B4-BE49-F238E27FC236}">
                    <a16:creationId xmlns:a16="http://schemas.microsoft.com/office/drawing/2014/main" id="{8D6AE468-384C-4D09-BD29-FCA1C2D083E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26" y="230"/>
                <a:ext cx="1751" cy="180"/>
              </a:xfrm>
              <a:custGeom>
                <a:avLst/>
                <a:gdLst>
                  <a:gd name="T0" fmla="*/ 92 w 1751"/>
                  <a:gd name="T1" fmla="*/ 0 h 180"/>
                  <a:gd name="T2" fmla="*/ 0 w 1751"/>
                  <a:gd name="T3" fmla="*/ 90 h 180"/>
                  <a:gd name="T4" fmla="*/ 92 w 1751"/>
                  <a:gd name="T5" fmla="*/ 180 h 180"/>
                  <a:gd name="T6" fmla="*/ 1751 w 1751"/>
                  <a:gd name="T7" fmla="*/ 180 h 180"/>
                  <a:gd name="T8" fmla="*/ 1751 w 1751"/>
                  <a:gd name="T9" fmla="*/ 0 h 180"/>
                  <a:gd name="T10" fmla="*/ 92 w 1751"/>
                  <a:gd name="T11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51" h="180">
                    <a:moveTo>
                      <a:pt x="92" y="0"/>
                    </a:moveTo>
                    <a:lnTo>
                      <a:pt x="0" y="90"/>
                    </a:lnTo>
                    <a:lnTo>
                      <a:pt x="92" y="180"/>
                    </a:lnTo>
                    <a:lnTo>
                      <a:pt x="1751" y="180"/>
                    </a:lnTo>
                    <a:lnTo>
                      <a:pt x="1751" y="0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0029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lIns="0" tIns="0" rIns="0" bIns="0">
            <a:noAutofit/>
          </a:bodyPr>
          <a:lstStyle>
            <a:lvl1pPr>
              <a:defRPr sz="2400">
                <a:latin typeface="Mercury Text G1" panose="02000503080000020003" pitchFamily="2" charset="0"/>
              </a:defRPr>
            </a:lvl1pPr>
            <a:lvl2pPr>
              <a:defRPr sz="2400">
                <a:latin typeface="Mercury Text G1" panose="02000503080000020003" pitchFamily="2" charset="0"/>
              </a:defRPr>
            </a:lvl2pPr>
            <a:lvl3pPr>
              <a:defRPr sz="2400">
                <a:latin typeface="Mercury Text G1" panose="02000503080000020003" pitchFamily="2" charset="0"/>
              </a:defRPr>
            </a:lvl3pPr>
            <a:lvl4pPr>
              <a:defRPr sz="2400">
                <a:latin typeface="Mercury Text G1" panose="02000503080000020003" pitchFamily="2" charset="0"/>
              </a:defRPr>
            </a:lvl4pPr>
            <a:lvl5pPr>
              <a:defRPr sz="2400">
                <a:latin typeface="Mercury Text G1" panose="02000503080000020003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Marcador de fecha 5">
            <a:extLst>
              <a:ext uri="{FF2B5EF4-FFF2-40B4-BE49-F238E27FC236}">
                <a16:creationId xmlns:a16="http://schemas.microsoft.com/office/drawing/2014/main" id="{BAE841FB-26F2-450B-B0C8-2812FC76DF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06211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69097" y="3240646"/>
            <a:ext cx="9144000" cy="2387600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ts val="6000"/>
              </a:lnSpc>
              <a:defRPr sz="7000" cap="all" baseline="0">
                <a:solidFill>
                  <a:schemeClr val="bg1"/>
                </a:solidFill>
                <a:latin typeface="GarageGothic-Bold" panose="02000808030000020004" pitchFamily="2" charset="0"/>
              </a:defRPr>
            </a:lvl1pPr>
          </a:lstStyle>
          <a:p>
            <a:r>
              <a:rPr lang="en-US"/>
              <a:t>Continuing our </a:t>
            </a:r>
            <a:br>
              <a:rPr lang="en-US"/>
            </a:br>
            <a:r>
              <a:rPr lang="en-US"/>
              <a:t>partnership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69097" y="5720321"/>
            <a:ext cx="9144000" cy="689669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2000"/>
              </a:lnSpc>
              <a:buNone/>
              <a:defRPr sz="2400">
                <a:solidFill>
                  <a:schemeClr val="bg1"/>
                </a:solidFill>
                <a:latin typeface="Gotham Book" pitchFamily="50" charset="0"/>
                <a:cs typeface="Gotham Book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AUSTRALIA’s CONTINUOUS </a:t>
            </a:r>
          </a:p>
          <a:p>
            <a:r>
              <a:rPr lang="en-GB" err="1"/>
              <a:t>NAVAl</a:t>
            </a:r>
            <a:r>
              <a:rPr lang="en-GB"/>
              <a:t> SHIPBUILDING PROGRAM</a:t>
            </a:r>
          </a:p>
        </p:txBody>
      </p:sp>
    </p:spTree>
    <p:extLst>
      <p:ext uri="{BB962C8B-B14F-4D97-AF65-F5344CB8AC3E}">
        <p14:creationId xmlns:p14="http://schemas.microsoft.com/office/powerpoint/2010/main" val="15369168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D2DBD4AC-9786-4AC9-9D91-8199CF282713}"/>
              </a:ext>
            </a:extLst>
          </p:cNvPr>
          <p:cNvGrpSpPr/>
          <p:nvPr userDrawn="1"/>
        </p:nvGrpSpPr>
        <p:grpSpPr>
          <a:xfrm>
            <a:off x="8610600" y="361950"/>
            <a:ext cx="3642118" cy="282575"/>
            <a:chOff x="8610600" y="361950"/>
            <a:chExt cx="3642118" cy="282575"/>
          </a:xfrm>
        </p:grpSpPr>
        <p:grpSp>
          <p:nvGrpSpPr>
            <p:cNvPr id="4" name="Group 4">
              <a:extLst>
                <a:ext uri="{FF2B5EF4-FFF2-40B4-BE49-F238E27FC236}">
                  <a16:creationId xmlns:a16="http://schemas.microsoft.com/office/drawing/2014/main" id="{17050210-EF88-42C1-9248-955B7ACE846E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8610600" y="361950"/>
              <a:ext cx="2779713" cy="282575"/>
              <a:chOff x="5424" y="230"/>
              <a:chExt cx="1751" cy="178"/>
            </a:xfrm>
          </p:grpSpPr>
          <p:sp>
            <p:nvSpPr>
              <p:cNvPr id="5" name="AutoShape 3">
                <a:extLst>
                  <a:ext uri="{FF2B5EF4-FFF2-40B4-BE49-F238E27FC236}">
                    <a16:creationId xmlns:a16="http://schemas.microsoft.com/office/drawing/2014/main" id="{78AFA7A1-179D-4F3F-94DE-6C03F24DE494}"/>
                  </a:ext>
                </a:extLst>
              </p:cNvPr>
              <p:cNvSpPr>
                <a:spLocks noChangeAspect="1" noChangeArrowheads="1" noTextEdit="1"/>
              </p:cNvSpPr>
              <p:nvPr userDrawn="1"/>
            </p:nvSpPr>
            <p:spPr bwMode="auto">
              <a:xfrm>
                <a:off x="5424" y="230"/>
                <a:ext cx="1751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" name="Freeform 5">
                <a:extLst>
                  <a:ext uri="{FF2B5EF4-FFF2-40B4-BE49-F238E27FC236}">
                    <a16:creationId xmlns:a16="http://schemas.microsoft.com/office/drawing/2014/main" id="{EBA67428-015C-46B6-AEB0-D71A0F00EE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26" y="230"/>
                <a:ext cx="1751" cy="180"/>
              </a:xfrm>
              <a:custGeom>
                <a:avLst/>
                <a:gdLst>
                  <a:gd name="T0" fmla="*/ 92 w 1751"/>
                  <a:gd name="T1" fmla="*/ 0 h 180"/>
                  <a:gd name="T2" fmla="*/ 0 w 1751"/>
                  <a:gd name="T3" fmla="*/ 90 h 180"/>
                  <a:gd name="T4" fmla="*/ 92 w 1751"/>
                  <a:gd name="T5" fmla="*/ 180 h 180"/>
                  <a:gd name="T6" fmla="*/ 1751 w 1751"/>
                  <a:gd name="T7" fmla="*/ 180 h 180"/>
                  <a:gd name="T8" fmla="*/ 1751 w 1751"/>
                  <a:gd name="T9" fmla="*/ 0 h 180"/>
                  <a:gd name="T10" fmla="*/ 92 w 1751"/>
                  <a:gd name="T11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51" h="180">
                    <a:moveTo>
                      <a:pt x="92" y="0"/>
                    </a:moveTo>
                    <a:lnTo>
                      <a:pt x="0" y="90"/>
                    </a:lnTo>
                    <a:lnTo>
                      <a:pt x="92" y="180"/>
                    </a:lnTo>
                    <a:lnTo>
                      <a:pt x="1751" y="180"/>
                    </a:lnTo>
                    <a:lnTo>
                      <a:pt x="1751" y="0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0029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9" name="Group 4">
              <a:extLst>
                <a:ext uri="{FF2B5EF4-FFF2-40B4-BE49-F238E27FC236}">
                  <a16:creationId xmlns:a16="http://schemas.microsoft.com/office/drawing/2014/main" id="{4CF12F7E-4B1B-4319-8BFC-1498E4A3EECB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9473005" y="361950"/>
              <a:ext cx="2779713" cy="282575"/>
              <a:chOff x="5424" y="230"/>
              <a:chExt cx="1751" cy="178"/>
            </a:xfrm>
          </p:grpSpPr>
          <p:sp>
            <p:nvSpPr>
              <p:cNvPr id="10" name="AutoShape 3">
                <a:extLst>
                  <a:ext uri="{FF2B5EF4-FFF2-40B4-BE49-F238E27FC236}">
                    <a16:creationId xmlns:a16="http://schemas.microsoft.com/office/drawing/2014/main" id="{5D7271AE-4301-4F5D-8744-F9228C22DA1C}"/>
                  </a:ext>
                </a:extLst>
              </p:cNvPr>
              <p:cNvSpPr>
                <a:spLocks noChangeAspect="1" noChangeArrowheads="1" noTextEdit="1"/>
              </p:cNvSpPr>
              <p:nvPr userDrawn="1"/>
            </p:nvSpPr>
            <p:spPr bwMode="auto">
              <a:xfrm>
                <a:off x="5424" y="230"/>
                <a:ext cx="1751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" name="Freeform 5">
                <a:extLst>
                  <a:ext uri="{FF2B5EF4-FFF2-40B4-BE49-F238E27FC236}">
                    <a16:creationId xmlns:a16="http://schemas.microsoft.com/office/drawing/2014/main" id="{8D6AE468-384C-4D09-BD29-FCA1C2D083E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26" y="230"/>
                <a:ext cx="1751" cy="180"/>
              </a:xfrm>
              <a:custGeom>
                <a:avLst/>
                <a:gdLst>
                  <a:gd name="T0" fmla="*/ 92 w 1751"/>
                  <a:gd name="T1" fmla="*/ 0 h 180"/>
                  <a:gd name="T2" fmla="*/ 0 w 1751"/>
                  <a:gd name="T3" fmla="*/ 90 h 180"/>
                  <a:gd name="T4" fmla="*/ 92 w 1751"/>
                  <a:gd name="T5" fmla="*/ 180 h 180"/>
                  <a:gd name="T6" fmla="*/ 1751 w 1751"/>
                  <a:gd name="T7" fmla="*/ 180 h 180"/>
                  <a:gd name="T8" fmla="*/ 1751 w 1751"/>
                  <a:gd name="T9" fmla="*/ 0 h 180"/>
                  <a:gd name="T10" fmla="*/ 92 w 1751"/>
                  <a:gd name="T11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51" h="180">
                    <a:moveTo>
                      <a:pt x="92" y="0"/>
                    </a:moveTo>
                    <a:lnTo>
                      <a:pt x="0" y="90"/>
                    </a:lnTo>
                    <a:lnTo>
                      <a:pt x="92" y="180"/>
                    </a:lnTo>
                    <a:lnTo>
                      <a:pt x="1751" y="180"/>
                    </a:lnTo>
                    <a:lnTo>
                      <a:pt x="1751" y="0"/>
                    </a:lnTo>
                    <a:lnTo>
                      <a:pt x="92" y="0"/>
                    </a:lnTo>
                    <a:close/>
                  </a:path>
                </a:pathLst>
              </a:custGeom>
              <a:solidFill>
                <a:srgbClr val="0029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lIns="0" tIns="0" rIns="0" bIns="0">
            <a:noAutofit/>
          </a:bodyPr>
          <a:lstStyle>
            <a:lvl1pPr>
              <a:defRPr sz="2400">
                <a:latin typeface="Mercury Text G1" panose="02000503080000020003" pitchFamily="2" charset="0"/>
              </a:defRPr>
            </a:lvl1pPr>
            <a:lvl2pPr>
              <a:defRPr sz="2400">
                <a:latin typeface="Mercury Text G1" panose="02000503080000020003" pitchFamily="2" charset="0"/>
              </a:defRPr>
            </a:lvl2pPr>
            <a:lvl3pPr>
              <a:defRPr sz="2400">
                <a:latin typeface="Mercury Text G1" panose="02000503080000020003" pitchFamily="2" charset="0"/>
              </a:defRPr>
            </a:lvl3pPr>
            <a:lvl4pPr>
              <a:defRPr sz="2400">
                <a:latin typeface="Mercury Text G1" panose="02000503080000020003" pitchFamily="2" charset="0"/>
              </a:defRPr>
            </a:lvl4pPr>
            <a:lvl5pPr>
              <a:defRPr sz="2400">
                <a:latin typeface="Mercury Text G1" panose="02000503080000020003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65298" y="371844"/>
            <a:ext cx="3426702" cy="272681"/>
          </a:xfrm>
        </p:spPr>
        <p:txBody>
          <a:bodyPr lIns="0" tIns="0" rIns="0" bIns="0">
            <a:noAutofit/>
          </a:bodyPr>
          <a:lstStyle>
            <a:lvl1pPr>
              <a:defRPr sz="1600" cap="all" baseline="0">
                <a:solidFill>
                  <a:schemeClr val="bg1"/>
                </a:solidFill>
                <a:latin typeface="GarageGothic-Bold" panose="02000808030000020004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26454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50" y="532191"/>
            <a:ext cx="10515600" cy="3347962"/>
          </a:xfrm>
        </p:spPr>
        <p:txBody>
          <a:bodyPr lIns="0" tIns="0" rIns="0" bIns="0" anchor="b">
            <a:noAutofit/>
          </a:bodyPr>
          <a:lstStyle>
            <a:lvl1pPr algn="ctr">
              <a:defRPr sz="6600" cap="all" baseline="0">
                <a:solidFill>
                  <a:schemeClr val="bg1"/>
                </a:solidFill>
                <a:latin typeface="GarageGothic-Bold" panose="02000808030000020004" pitchFamily="2" charset="0"/>
              </a:defRPr>
            </a:lvl1pPr>
          </a:lstStyle>
          <a:p>
            <a:r>
              <a:rPr lang="en-US" err="1"/>
              <a:t>Navantia</a:t>
            </a:r>
            <a:r>
              <a:rPr lang="en-US"/>
              <a:t> </a:t>
            </a:r>
            <a:r>
              <a:rPr lang="en-US" err="1"/>
              <a:t>australia</a:t>
            </a:r>
            <a:r>
              <a:rPr lang="en-US"/>
              <a:t> is the logical choic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880153"/>
            <a:ext cx="10515600" cy="2209497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2400" cap="all" baseline="0">
                <a:solidFill>
                  <a:schemeClr val="bg1"/>
                </a:solidFill>
                <a:latin typeface="Gotham Book" pitchFamily="50" charset="0"/>
                <a:cs typeface="Gotham Book" pitchFamily="50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0102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788" y="532191"/>
            <a:ext cx="6721662" cy="3808520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ts val="6000"/>
              </a:lnSpc>
              <a:defRPr sz="6600" cap="all" baseline="0">
                <a:solidFill>
                  <a:schemeClr val="bg1"/>
                </a:solidFill>
                <a:latin typeface="GarageGothic-Bold" panose="02000808030000020004" pitchFamily="2" charset="0"/>
              </a:defRPr>
            </a:lvl1pPr>
          </a:lstStyle>
          <a:p>
            <a:r>
              <a:rPr lang="en-US" dirty="0"/>
              <a:t>Navantia </a:t>
            </a:r>
            <a:r>
              <a:rPr lang="en-US" dirty="0" err="1"/>
              <a:t>australia</a:t>
            </a:r>
            <a:r>
              <a:rPr lang="en-US" dirty="0"/>
              <a:t> is the logical choic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1102659"/>
            <a:ext cx="3089312" cy="3792070"/>
          </a:xfrm>
        </p:spPr>
        <p:txBody>
          <a:bodyPr lIns="0" tIns="0" rIns="0" bIns="0" anchor="b" anchorCtr="0">
            <a:noAutofit/>
          </a:bodyPr>
          <a:lstStyle>
            <a:lvl1pPr marL="0" indent="0" algn="r">
              <a:buNone/>
              <a:defRPr sz="22000" cap="all" baseline="0">
                <a:solidFill>
                  <a:schemeClr val="bg1"/>
                </a:solidFill>
                <a:latin typeface="GarageGothic-Bold" panose="02000808030000020004" pitchFamily="2" charset="0"/>
                <a:cs typeface="Gotham Book" pitchFamily="50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02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1C940EB-7889-4455-B8E7-740E808745C6}"/>
              </a:ext>
            </a:extLst>
          </p:cNvPr>
          <p:cNvCxnSpPr>
            <a:cxnSpLocks/>
          </p:cNvCxnSpPr>
          <p:nvPr userDrawn="1"/>
        </p:nvCxnSpPr>
        <p:spPr>
          <a:xfrm>
            <a:off x="4329953" y="1559987"/>
            <a:ext cx="0" cy="3572627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22929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B4A8469E-CAA6-4EB1-8CDB-FF2A79437A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8101"/>
            <a:ext cx="3151744" cy="893542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8866" y="1108038"/>
            <a:ext cx="11014934" cy="41416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Mercury Text G1" panose="02000503080000020003" pitchFamily="2" charset="0"/>
              </a:defRPr>
            </a:lvl1pPr>
            <a:lvl2pPr>
              <a:defRPr sz="2400">
                <a:latin typeface="Mercury Text G1" panose="02000503080000020003" pitchFamily="2" charset="0"/>
              </a:defRPr>
            </a:lvl2pPr>
            <a:lvl3pPr>
              <a:defRPr sz="2400">
                <a:latin typeface="Mercury Text G1" panose="02000503080000020003" pitchFamily="2" charset="0"/>
              </a:defRPr>
            </a:lvl3pPr>
            <a:lvl4pPr>
              <a:defRPr sz="2400">
                <a:latin typeface="Mercury Text G1" panose="02000503080000020003" pitchFamily="2" charset="0"/>
              </a:defRPr>
            </a:lvl4pPr>
            <a:lvl5pPr>
              <a:defRPr sz="2400">
                <a:latin typeface="Mercury Text G1" panose="02000503080000020003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8866" y="1678193"/>
            <a:ext cx="11014934" cy="4498770"/>
          </a:xfrm>
        </p:spPr>
        <p:txBody>
          <a:bodyPr lIns="0" tIns="0" rIns="0" bIns="0">
            <a:noAutofit/>
          </a:bodyPr>
          <a:lstStyle>
            <a:lvl1pPr marL="228600" indent="-228600">
              <a:buSzPct val="120000"/>
              <a:buFontTx/>
              <a:buBlip>
                <a:blip r:embed="rId3"/>
              </a:buBlip>
              <a:defRPr sz="1800">
                <a:latin typeface="Mercury Text G1" panose="02000503080000020003" pitchFamily="2" charset="0"/>
              </a:defRPr>
            </a:lvl1pPr>
            <a:lvl2pPr marL="685800" indent="-228600">
              <a:buSzPct val="120000"/>
              <a:buFontTx/>
              <a:buBlip>
                <a:blip r:embed="rId3"/>
              </a:buBlip>
              <a:defRPr sz="1800">
                <a:latin typeface="Mercury Text G1" panose="02000503080000020003" pitchFamily="2" charset="0"/>
              </a:defRPr>
            </a:lvl2pPr>
            <a:lvl3pPr marL="1143000" indent="-228600">
              <a:buSzPct val="120000"/>
              <a:buFontTx/>
              <a:buBlip>
                <a:blip r:embed="rId3"/>
              </a:buBlip>
              <a:defRPr sz="1800">
                <a:latin typeface="Mercury Text G1" panose="02000503080000020003" pitchFamily="2" charset="0"/>
              </a:defRPr>
            </a:lvl3pPr>
            <a:lvl4pPr marL="1600200" indent="-228600">
              <a:buSzPct val="120000"/>
              <a:buFontTx/>
              <a:buBlip>
                <a:blip r:embed="rId3"/>
              </a:buBlip>
              <a:defRPr sz="1800">
                <a:latin typeface="Mercury Text G1" panose="02000503080000020003" pitchFamily="2" charset="0"/>
              </a:defRPr>
            </a:lvl4pPr>
            <a:lvl5pPr marL="2057400" indent="-228600">
              <a:buSzPct val="120000"/>
              <a:buFontTx/>
              <a:buBlip>
                <a:blip r:embed="rId3"/>
              </a:buBlip>
              <a:defRPr sz="1800">
                <a:latin typeface="Mercury Text G1" panose="02000503080000020003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95ED0E61-9934-43CC-8BC4-C505109B2C0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261" y="321331"/>
            <a:ext cx="720137" cy="309284"/>
          </a:xfrm>
          <a:prstGeom prst="rect">
            <a:avLst/>
          </a:prstGeom>
        </p:spPr>
      </p:pic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82FD94CE-DE8B-431A-BE7B-4D012EC69CF0}"/>
              </a:ext>
            </a:extLst>
          </p:cNvPr>
          <p:cNvSpPr txBox="1">
            <a:spLocks/>
          </p:cNvSpPr>
          <p:nvPr userDrawn="1"/>
        </p:nvSpPr>
        <p:spPr>
          <a:xfrm>
            <a:off x="1150024" y="6249368"/>
            <a:ext cx="851695" cy="365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F3CA0967-BBAC-4E60-BF5B-20B615B87287}" type="slidenum">
              <a:rPr lang="es-ES" sz="1200" smtClean="0">
                <a:solidFill>
                  <a:srgbClr val="005DB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algn="l"/>
              <a:t>‹Nº›</a:t>
            </a:fld>
            <a:endParaRPr lang="es-ES" sz="900" dirty="0">
              <a:solidFill>
                <a:srgbClr val="005DB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Subtítulo 2">
            <a:extLst>
              <a:ext uri="{FF2B5EF4-FFF2-40B4-BE49-F238E27FC236}">
                <a16:creationId xmlns:a16="http://schemas.microsoft.com/office/drawing/2014/main" id="{1AA2C6FC-2D9C-4116-9915-0732373E388A}"/>
              </a:ext>
            </a:extLst>
          </p:cNvPr>
          <p:cNvSpPr txBox="1">
            <a:spLocks/>
          </p:cNvSpPr>
          <p:nvPr userDrawn="1"/>
        </p:nvSpPr>
        <p:spPr>
          <a:xfrm>
            <a:off x="260028" y="6654386"/>
            <a:ext cx="2018352" cy="304215"/>
          </a:xfrm>
          <a:prstGeom prst="rect">
            <a:avLst/>
          </a:prstGeom>
        </p:spPr>
        <p:txBody>
          <a:bodyPr vert="horz" lIns="82245" tIns="41122" rIns="82245" bIns="41122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ts val="75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solidFill>
                  <a:srgbClr val="005DB4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MERCIAL IN CONFIDENCE</a:t>
            </a:r>
          </a:p>
        </p:txBody>
      </p:sp>
    </p:spTree>
    <p:extLst>
      <p:ext uri="{BB962C8B-B14F-4D97-AF65-F5344CB8AC3E}">
        <p14:creationId xmlns:p14="http://schemas.microsoft.com/office/powerpoint/2010/main" val="27631508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0" tIns="0" rIns="0" bIns="0">
            <a:noAutofit/>
          </a:bodyPr>
          <a:lstStyle>
            <a:lvl1pPr>
              <a:defRPr cap="all" baseline="0">
                <a:latin typeface="GarageGothic-Bold" panose="02000808030000020004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 lIns="0" tIns="0" rIns="0" bIns="0">
            <a:noAutofit/>
          </a:bodyPr>
          <a:lstStyle>
            <a:lvl1pPr>
              <a:defRPr sz="2400">
                <a:latin typeface="Mercury Text G1" panose="02000503080000020003" pitchFamily="2" charset="0"/>
              </a:defRPr>
            </a:lvl1pPr>
            <a:lvl2pPr>
              <a:defRPr sz="2400">
                <a:latin typeface="Mercury Text G1" panose="02000503080000020003" pitchFamily="2" charset="0"/>
              </a:defRPr>
            </a:lvl2pPr>
            <a:lvl3pPr>
              <a:defRPr sz="2400">
                <a:latin typeface="Mercury Text G1" panose="02000503080000020003" pitchFamily="2" charset="0"/>
              </a:defRPr>
            </a:lvl3pPr>
            <a:lvl4pPr>
              <a:defRPr sz="2400">
                <a:latin typeface="Mercury Text G1" panose="02000503080000020003" pitchFamily="2" charset="0"/>
              </a:defRPr>
            </a:lvl4pPr>
            <a:lvl5pPr>
              <a:defRPr sz="2400">
                <a:latin typeface="Mercury Text G1" panose="02000503080000020003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 lIns="0" tIns="0" rIns="0" bIns="0">
            <a:noAutofit/>
          </a:bodyPr>
          <a:lstStyle>
            <a:lvl1pPr>
              <a:defRPr sz="2400">
                <a:latin typeface="Mercury Text G1" panose="02000503080000020003" pitchFamily="2" charset="0"/>
              </a:defRPr>
            </a:lvl1pPr>
            <a:lvl2pPr>
              <a:defRPr sz="2400">
                <a:latin typeface="Mercury Text G1" panose="02000503080000020003" pitchFamily="2" charset="0"/>
              </a:defRPr>
            </a:lvl2pPr>
            <a:lvl3pPr>
              <a:defRPr sz="2400">
                <a:latin typeface="Mercury Text G1" panose="02000503080000020003" pitchFamily="2" charset="0"/>
              </a:defRPr>
            </a:lvl3pPr>
            <a:lvl4pPr>
              <a:defRPr sz="2400">
                <a:latin typeface="Mercury Text G1" panose="02000503080000020003" pitchFamily="2" charset="0"/>
              </a:defRPr>
            </a:lvl4pPr>
            <a:lvl5pPr>
              <a:defRPr sz="2400">
                <a:latin typeface="Mercury Text G1" panose="02000503080000020003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3410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tx2">
            <a:lumMod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F61A7565-7D05-4DEF-9BD5-584FBC5F8450}"/>
              </a:ext>
            </a:extLst>
          </p:cNvPr>
          <p:cNvGrpSpPr/>
          <p:nvPr userDrawn="1"/>
        </p:nvGrpSpPr>
        <p:grpSpPr>
          <a:xfrm>
            <a:off x="-1" y="489473"/>
            <a:ext cx="9731995" cy="462579"/>
            <a:chOff x="-1" y="489473"/>
            <a:chExt cx="9731995" cy="462579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7B211A13-A387-4573-BAED-10FD4C91D5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2359293" y="489473"/>
              <a:ext cx="7372701" cy="462579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7FB5B13-0592-4078-8AF4-2A59E27C842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" y="489473"/>
              <a:ext cx="7372701" cy="462579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01214" y="489473"/>
            <a:ext cx="11052586" cy="554020"/>
          </a:xfrm>
        </p:spPr>
        <p:txBody>
          <a:bodyPr wrap="none" lIns="0" tIns="0" rIns="0" bIns="0" anchor="t" anchorCtr="0">
            <a:noAutofit/>
          </a:bodyPr>
          <a:lstStyle>
            <a:lvl1pPr>
              <a:defRPr sz="3600" cap="all" baseline="0">
                <a:solidFill>
                  <a:schemeClr val="bg1"/>
                </a:solidFill>
                <a:latin typeface="GarageGothic-Bold" panose="02000808030000020004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89552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41424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6A523A-8E75-4D30-B093-D501F914892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1746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0" r:id="rId3"/>
    <p:sldLayoutId id="2147483651" r:id="rId4"/>
    <p:sldLayoutId id="2147483657" r:id="rId5"/>
    <p:sldLayoutId id="2147483652" r:id="rId6"/>
    <p:sldLayoutId id="2147483656" r:id="rId7"/>
    <p:sldLayoutId id="2147483654" r:id="rId8"/>
    <p:sldLayoutId id="2147483655" r:id="rId9"/>
    <p:sldLayoutId id="2147483660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5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26" Type="http://schemas.openxmlformats.org/officeDocument/2006/relationships/hyperlink" Target="http://images.google.es/imgres?imgurl=http://www.iglesia-sanpablo.org/flags/usa.gif&amp;imgrefurl=http://www.iglesia-sanpablo.org/&amp;usg=__gpf2EiNDguzCf4FsHQuZzSrBJsE=&amp;h=302&amp;w=575&amp;sz=9&amp;hl=es&amp;start=7&amp;tbnid=XvivmtNQv1ecZM:&amp;tbnh=70&amp;tbnw=134&amp;prev=/images?q=usa&amp;gbv=2&amp;hl=es" TargetMode="External"/><Relationship Id="rId21" Type="http://schemas.openxmlformats.org/officeDocument/2006/relationships/image" Target="../media/image45.jpeg"/><Relationship Id="rId42" Type="http://schemas.openxmlformats.org/officeDocument/2006/relationships/image" Target="../media/image60.png"/><Relationship Id="rId47" Type="http://schemas.openxmlformats.org/officeDocument/2006/relationships/image" Target="../media/image65.jpeg"/><Relationship Id="rId63" Type="http://schemas.openxmlformats.org/officeDocument/2006/relationships/image" Target="../media/image79.png"/><Relationship Id="rId68" Type="http://schemas.openxmlformats.org/officeDocument/2006/relationships/image" Target="../media/image84.png"/><Relationship Id="rId2" Type="http://schemas.openxmlformats.org/officeDocument/2006/relationships/image" Target="../media/image5.emf"/><Relationship Id="rId16" Type="http://schemas.openxmlformats.org/officeDocument/2006/relationships/image" Target="../media/image42.jpeg"/><Relationship Id="rId29" Type="http://schemas.openxmlformats.org/officeDocument/2006/relationships/image" Target="../media/image49.jpeg"/><Relationship Id="rId11" Type="http://schemas.openxmlformats.org/officeDocument/2006/relationships/image" Target="../media/image40.jpeg"/><Relationship Id="rId24" Type="http://schemas.openxmlformats.org/officeDocument/2006/relationships/hyperlink" Target="http://images.google.es/imgres?imgurl=http://www.locutortv.es/imagenes/bandera_alemania_spanishvoiceover.gif&amp;imgrefurl=http://www.locutortv.es/&amp;usg=__qyQQYi5wPg-OrwO_IE2RjIdkvVI=&amp;h=333&amp;w=500&amp;sz=2&amp;hl=es&amp;start=2&amp;tbnid=ZECqfpW_eZ4jHM:&amp;tbnh=87&amp;tbnw=130&amp;prev=/images?q=bandera+alemania&amp;gbv=2&amp;hl=es&amp;sa=X" TargetMode="External"/><Relationship Id="rId32" Type="http://schemas.openxmlformats.org/officeDocument/2006/relationships/hyperlink" Target="http://images.google.es/imgres?imgurl=http://www.paises.com.mx/banderas/holanda.gif&amp;imgrefurl=http://www.paises.com.mx/holanda/bandera.html&amp;usg=__W6-3dtDM39tYUnizLsQ9Gndce8Q=&amp;h=302&amp;w=453&amp;sz=2&amp;hl=es&amp;start=15&amp;tbnid=vi4DEtv5uLHfdM:&amp;tbnh=85&amp;tbnw=127&amp;prev=/images?q=holanda&amp;gbv=2&amp;hl=es" TargetMode="External"/><Relationship Id="rId37" Type="http://schemas.openxmlformats.org/officeDocument/2006/relationships/image" Target="../media/image55.jpeg"/><Relationship Id="rId40" Type="http://schemas.openxmlformats.org/officeDocument/2006/relationships/image" Target="../media/image58.png"/><Relationship Id="rId45" Type="http://schemas.openxmlformats.org/officeDocument/2006/relationships/image" Target="../media/image63.jpeg"/><Relationship Id="rId53" Type="http://schemas.openxmlformats.org/officeDocument/2006/relationships/image" Target="../media/image70.png"/><Relationship Id="rId58" Type="http://schemas.openxmlformats.org/officeDocument/2006/relationships/image" Target="../media/image22.png"/><Relationship Id="rId66" Type="http://schemas.openxmlformats.org/officeDocument/2006/relationships/image" Target="../media/image82.jpeg"/><Relationship Id="rId5" Type="http://schemas.openxmlformats.org/officeDocument/2006/relationships/image" Target="../media/image37.jpeg"/><Relationship Id="rId61" Type="http://schemas.openxmlformats.org/officeDocument/2006/relationships/image" Target="../media/image77.png"/><Relationship Id="rId19" Type="http://schemas.openxmlformats.org/officeDocument/2006/relationships/image" Target="../media/image44.png"/><Relationship Id="rId14" Type="http://schemas.openxmlformats.org/officeDocument/2006/relationships/image" Target="../media/image20.png"/><Relationship Id="rId22" Type="http://schemas.openxmlformats.org/officeDocument/2006/relationships/hyperlink" Target="http://images.google.es/imgres?imgurl=http://www.otri.iac.es/acceso/images/uk-flag.gif&amp;imgrefurl=http://www.otri.iac.es/acceso/entrada.html&amp;usg=__2YW7-bOD26Tyi3sE49pqWphzitk=&amp;h=330&amp;w=600&amp;sz=15&amp;hl=es&amp;start=1&amp;tbnid=YCFvwOoAw3QnlM:&amp;tbnh=74&amp;tbnw=135&amp;prev=/images?q=uk&amp;gbv=2&amp;hl=es" TargetMode="External"/><Relationship Id="rId27" Type="http://schemas.openxmlformats.org/officeDocument/2006/relationships/image" Target="../media/image48.jpeg"/><Relationship Id="rId30" Type="http://schemas.openxmlformats.org/officeDocument/2006/relationships/hyperlink" Target="http://images.google.es/imgres?imgurl=http://www.educa.madrid.org/cms_tools/files/be1fd08e-8b96-4903-9fb0-5a9053a68c98/francia_bandera.gif&amp;imgrefurl=http://www.educa.madrid.org/portal/c/portal/layout?p_l_id=39276.17&amp;usg=__aCQf55jLGOcaBG_EAH3Hfgn-z-c=&amp;h=287&amp;w=434&amp;sz=3&amp;hl=es&amp;start=14&amp;tbnid=OBWUgUVh5LYMQM:&amp;tbnh=83&amp;tbnw=126&amp;prev=/images?q=francia&amp;gbv=2&amp;hl=es" TargetMode="External"/><Relationship Id="rId35" Type="http://schemas.openxmlformats.org/officeDocument/2006/relationships/image" Target="../media/image53.jpeg"/><Relationship Id="rId43" Type="http://schemas.openxmlformats.org/officeDocument/2006/relationships/image" Target="../media/image61.png"/><Relationship Id="rId48" Type="http://schemas.openxmlformats.org/officeDocument/2006/relationships/hyperlink" Target="https://www.google.es/url?sa=i&amp;source=images&amp;cd=&amp;cad=rja&amp;uact=8&amp;ved=2ahUKEwinv7_omajbAhWBQBQKHTKjBKoQjRx6BAgBEAU&amp;url=https://www.nuclearvalley.com/en/annuaire/howden-solyvent-ventec/&amp;psig=AOvVaw1psr4QPw8H15kcucZPqqec&amp;ust=1527589844158310" TargetMode="External"/><Relationship Id="rId56" Type="http://schemas.openxmlformats.org/officeDocument/2006/relationships/image" Target="../media/image73.png"/><Relationship Id="rId64" Type="http://schemas.openxmlformats.org/officeDocument/2006/relationships/image" Target="../media/image80.png"/><Relationship Id="rId69" Type="http://schemas.openxmlformats.org/officeDocument/2006/relationships/image" Target="../media/image85.png"/><Relationship Id="rId8" Type="http://schemas.openxmlformats.org/officeDocument/2006/relationships/hyperlink" Target="http://images.google.es/imgres?imgurl=http://sensors-transducers.globalspec.com/UltraElectronics/logo.jpg&amp;imgrefurl=http://sensors-transducers.globalspec.com/datasheets/320/UltraElectronics&amp;usg=__tiKJU8iN78rCDn2one4j0R0pNXU=&amp;h=176&amp;w=228&amp;sz=22&amp;hl=es&amp;start=3&amp;tbnid=Yucu_nI4X_hg2M:&amp;tbnh=83&amp;tbnw=108&amp;prev=/images?q=ultra+electronics+logo&amp;gbv=2&amp;hl=es" TargetMode="External"/><Relationship Id="rId51" Type="http://schemas.openxmlformats.org/officeDocument/2006/relationships/image" Target="../media/image68.png"/><Relationship Id="rId72" Type="http://schemas.openxmlformats.org/officeDocument/2006/relationships/image" Target="../media/image87.jpeg"/><Relationship Id="rId3" Type="http://schemas.openxmlformats.org/officeDocument/2006/relationships/image" Target="../media/image36.jpg"/><Relationship Id="rId12" Type="http://schemas.openxmlformats.org/officeDocument/2006/relationships/hyperlink" Target="http://www.transdiesel.com/images/MTU-logo.jpg" TargetMode="External"/><Relationship Id="rId17" Type="http://schemas.openxmlformats.org/officeDocument/2006/relationships/hyperlink" Target="http://images.google.es/imgres?imgurl=http://www.uam.es/foro_empleo/img/Abengoa.jpg&amp;imgrefurl=http://bolsabroker.mi-web.es/foro/viewtopic.php?p=5&amp;usg=__9Cd6NdkWA0kphcav2XqgRZA2S4g=&amp;h=1062&amp;w=4724&amp;sz=200&amp;hl=es&amp;start=3&amp;um=1&amp;tbnid=-djJhw75MHEP1M:&amp;tbnh=34&amp;tbnw=150&amp;prev=/images?q=abengoa&amp;hl=es&amp;um=1" TargetMode="External"/><Relationship Id="rId25" Type="http://schemas.openxmlformats.org/officeDocument/2006/relationships/image" Target="../media/image47.jpeg"/><Relationship Id="rId33" Type="http://schemas.openxmlformats.org/officeDocument/2006/relationships/image" Target="../media/image51.jpeg"/><Relationship Id="rId38" Type="http://schemas.openxmlformats.org/officeDocument/2006/relationships/image" Target="../media/image56.jpeg"/><Relationship Id="rId46" Type="http://schemas.openxmlformats.org/officeDocument/2006/relationships/image" Target="../media/image64.png"/><Relationship Id="rId59" Type="http://schemas.openxmlformats.org/officeDocument/2006/relationships/image" Target="../media/image75.png"/><Relationship Id="rId67" Type="http://schemas.openxmlformats.org/officeDocument/2006/relationships/image" Target="../media/image83.png"/><Relationship Id="rId20" Type="http://schemas.openxmlformats.org/officeDocument/2006/relationships/hyperlink" Target="http://images.google.es/imgres?imgurl=http://www.ollinkan.tlalpan.gob.mx/2006/elencos/espana.gif&amp;imgrefurl=http://www.ollinkan.tlalpan.gob.mx/2006/elencos.html&amp;usg=__yGUxXlOwLLolfDRj9ei_FTI8vHY=&amp;h=302&amp;w=453&amp;sz=10&amp;hl=es&amp;start=1&amp;tbnid=eFtDhwPafHBFdM:&amp;tbnh=85&amp;tbnw=127&amp;prev=/images?q=espa%C3%B1a&amp;gbv=2&amp;hl=es&amp;sa=G" TargetMode="External"/><Relationship Id="rId41" Type="http://schemas.openxmlformats.org/officeDocument/2006/relationships/image" Target="../media/image59.png"/><Relationship Id="rId54" Type="http://schemas.openxmlformats.org/officeDocument/2006/relationships/image" Target="../media/image71.png"/><Relationship Id="rId62" Type="http://schemas.openxmlformats.org/officeDocument/2006/relationships/image" Target="../media/image78.png"/><Relationship Id="rId70" Type="http://schemas.openxmlformats.org/officeDocument/2006/relationships/image" Target="../media/image86.png"/><Relationship Id="rId1" Type="http://schemas.openxmlformats.org/officeDocument/2006/relationships/slideLayout" Target="../slideLayouts/slideLayout6.xml"/><Relationship Id="rId6" Type="http://schemas.openxmlformats.org/officeDocument/2006/relationships/hyperlink" Target="http://images.google.es/imgres?imgurl=http://www.engineersaustralia.org.au/ieaust/fms//Education/PDP/PartnerLogos/Partner%20Logos%20A-G/Babcock%20logo%20blue%20gif.gif&amp;imgrefurl=http://www.engineersaustralia.org.au/education/professional-development-program/participating-organisations/babcock-integrated-technology-australia.cfm&amp;usg=__FfEnAbM5akiUI_gfiA-ECnDE9XY=&amp;h=2095&amp;w=1661&amp;sz=25&amp;hl=es&amp;start=1&amp;tbnid=c_w9oeefdoveSM:&amp;tbnh=150&amp;tbnw=119&amp;prev=/images?q=babcock+logo&amp;gbv=2&amp;hl=es" TargetMode="External"/><Relationship Id="rId15" Type="http://schemas.openxmlformats.org/officeDocument/2006/relationships/hyperlink" Target="http://images.google.es/imgres?imgurl=http://www.dre.vanderbilt.edu/CUTS/private/images/lockheed-martin.jpg&amp;imgrefurl=http://www.dre.vanderbilt.edu/CUTS/endusers.php&amp;usg=__kE26MJe4n5mrTCNXYEM8XpD7k1o=&amp;h=600&amp;w=3025&amp;sz=75&amp;hl=es&amp;start=1&amp;um=1&amp;tbnid=KPBCKfN7BKacBM:&amp;tbnh=30&amp;tbnw=150&amp;prev=/images?q=lockheed+martin&amp;hl=es&amp;um=1" TargetMode="External"/><Relationship Id="rId23" Type="http://schemas.openxmlformats.org/officeDocument/2006/relationships/image" Target="../media/image46.jpeg"/><Relationship Id="rId28" Type="http://schemas.openxmlformats.org/officeDocument/2006/relationships/hyperlink" Target="http://images.google.es/imgres?imgurl=http://www.valechumbar.com/media/uploads/nucleus/20060521-italia%20bandera.png&amp;imgrefurl=http://www.taringa.net/posts/imagenes/1669818/Im%C3%A1genes-de-Italia.html&amp;usg=__hMTjLVwqkC6ViWqymJ7cqc_rQFI=&amp;h=300&amp;w=450&amp;sz=2&amp;hl=es&amp;start=18&amp;tbnid=81C_ObYIErnp2M:&amp;tbnh=85&amp;tbnw=127&amp;prev=/images?q=italia&amp;gbv=2&amp;hl=es" TargetMode="External"/><Relationship Id="rId36" Type="http://schemas.openxmlformats.org/officeDocument/2006/relationships/image" Target="../media/image54.jpeg"/><Relationship Id="rId49" Type="http://schemas.openxmlformats.org/officeDocument/2006/relationships/image" Target="../media/image66.jpeg"/><Relationship Id="rId57" Type="http://schemas.openxmlformats.org/officeDocument/2006/relationships/image" Target="../media/image74.png"/><Relationship Id="rId10" Type="http://schemas.openxmlformats.org/officeDocument/2006/relationships/hyperlink" Target="http://images.google.es/imgres?imgurl=http://www.europages.com/logos2/CRMDEU47704710DE.gif&amp;imgrefurl=http://www.europages.es/guia-empresas/psrw/aderezo-de-oro.html&amp;usg=__YBCQYPfIl6wmTV4Bdjd7zu5Vod0=&amp;h=100&amp;w=100&amp;sz=3&amp;hl=es&amp;start=7&amp;tbnid=I-trV5ixyHkZdM:&amp;tbnh=82&amp;tbnw=82&amp;prev=/images?q=m%C3%BCller+cables+logotipo&amp;gbv=2&amp;hl=es" TargetMode="External"/><Relationship Id="rId31" Type="http://schemas.openxmlformats.org/officeDocument/2006/relationships/image" Target="../media/image50.jpeg"/><Relationship Id="rId44" Type="http://schemas.openxmlformats.org/officeDocument/2006/relationships/image" Target="../media/image62.png"/><Relationship Id="rId52" Type="http://schemas.openxmlformats.org/officeDocument/2006/relationships/image" Target="../media/image69.jpeg"/><Relationship Id="rId60" Type="http://schemas.openxmlformats.org/officeDocument/2006/relationships/image" Target="../media/image76.png"/><Relationship Id="rId65" Type="http://schemas.openxmlformats.org/officeDocument/2006/relationships/image" Target="../media/image81.png"/><Relationship Id="rId73" Type="http://schemas.openxmlformats.org/officeDocument/2006/relationships/image" Target="../media/image88.png"/><Relationship Id="rId4" Type="http://schemas.openxmlformats.org/officeDocument/2006/relationships/hyperlink" Target="http://images.google.es/imgres?imgurl=http://govconwire.com/wp-content/uploads/2009/06/qinetiq.jpg&amp;imgrefurl=http://govconwire.com/2009/06/qinetiq-wins-39m-gsa-contract/&amp;usg=__UPLI1XmqDlfAlnB1R0QN0WpyDwA=&amp;h=286&amp;w=715&amp;sz=37&amp;hl=es&amp;start=2&amp;tbnid=nSIAOIQRg6qboM:&amp;tbnh=56&amp;tbnw=140&amp;prev=/images?q=qinetiQ&amp;gbv=2&amp;hl=es" TargetMode="External"/><Relationship Id="rId9" Type="http://schemas.openxmlformats.org/officeDocument/2006/relationships/image" Target="../media/image39.jpeg"/><Relationship Id="rId13" Type="http://schemas.openxmlformats.org/officeDocument/2006/relationships/image" Target="../media/image41.jpeg"/><Relationship Id="rId18" Type="http://schemas.openxmlformats.org/officeDocument/2006/relationships/image" Target="../media/image43.jpeg"/><Relationship Id="rId39" Type="http://schemas.openxmlformats.org/officeDocument/2006/relationships/image" Target="../media/image57.gif"/><Relationship Id="rId34" Type="http://schemas.openxmlformats.org/officeDocument/2006/relationships/image" Target="../media/image52.png"/><Relationship Id="rId50" Type="http://schemas.openxmlformats.org/officeDocument/2006/relationships/image" Target="../media/image67.png"/><Relationship Id="rId55" Type="http://schemas.openxmlformats.org/officeDocument/2006/relationships/image" Target="../media/image72.gif"/><Relationship Id="rId7" Type="http://schemas.openxmlformats.org/officeDocument/2006/relationships/image" Target="../media/image38.jpeg"/><Relationship Id="rId71" Type="http://schemas.openxmlformats.org/officeDocument/2006/relationships/hyperlink" Target="http://images.google.es/imgres?imgurl=http://www.gaceta.es/file_upload/noticias/imagenes/460x435/tecnicas_reunidas12263863011305415334.jpg&amp;imgrefurl=http://www.gaceta.es/11-11-2008+tecnicas_reunidas_aumento_su_beneficio_un_34_septiembre,noticia_1img,28,28,37752&amp;usg=__zobqRMaBOYrhg3SBbzpeYUKxGuc=&amp;h=282&amp;w=500&amp;sz=57&amp;hl=es&amp;start=1&amp;um=1&amp;tbnid=qxLBRch9i1EoeM:&amp;tbnh=73&amp;tbnw=130&amp;prev=/images?q=tecnicas+reunidas&amp;hl=es&amp;um=1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hyperlink" Target="https://es.m.wikipedia.org/wiki/Archivo:Yes_Check_Circle.svg" TargetMode="External"/><Relationship Id="rId4" Type="http://schemas.openxmlformats.org/officeDocument/2006/relationships/image" Target="../media/image8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jp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hyperlink" Target="file:///C:\Users\jlsaez\Documents\EGIPTO\V&#237;deos\TODA%20LA%20MANIOBRA.mp4" TargetMode="Externa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jp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.xml"/><Relationship Id="rId6" Type="http://schemas.openxmlformats.org/officeDocument/2006/relationships/image" Target="../media/image9.jp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jp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slideLayout" Target="../slideLayouts/slideLayout3.xml"/><Relationship Id="rId1" Type="http://schemas.openxmlformats.org/officeDocument/2006/relationships/video" Target="https://player.vimeo.com/video/813463945?h=064b11acc7&amp;app_id=122963" TargetMode="Externa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jp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.xml"/><Relationship Id="rId6" Type="http://schemas.openxmlformats.org/officeDocument/2006/relationships/image" Target="../media/image10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7" Type="http://schemas.openxmlformats.org/officeDocument/2006/relationships/image" Target="../media/image22.png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jpeg"/><Relationship Id="rId7" Type="http://schemas.openxmlformats.org/officeDocument/2006/relationships/image" Target="../media/image28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CCF53942-C68F-4105-8FE3-314362D10CA2}"/>
              </a:ext>
            </a:extLst>
          </p:cNvPr>
          <p:cNvSpPr txBox="1">
            <a:spLocks/>
          </p:cNvSpPr>
          <p:nvPr/>
        </p:nvSpPr>
        <p:spPr>
          <a:xfrm>
            <a:off x="2371378" y="3624828"/>
            <a:ext cx="6223819" cy="631654"/>
          </a:xfrm>
          <a:prstGeom prst="rect">
            <a:avLst/>
          </a:prstGeom>
          <a:solidFill>
            <a:srgbClr val="00305C"/>
          </a:solidFill>
        </p:spPr>
        <p:txBody>
          <a:bodyPr vert="horz" wrap="non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GB" sz="4000" b="1" kern="1200" cap="all" spc="80" baseline="0" dirty="0">
                <a:solidFill>
                  <a:srgbClr val="F4F9F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3600" b="1" i="1" u="none" strike="noStrike" kern="1200" cap="all" spc="80" normalizeH="0" baseline="0" noProof="0" dirty="0">
                <a:ln>
                  <a:noFill/>
                </a:ln>
                <a:solidFill>
                  <a:srgbClr val="F4F9FD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+mn-lt"/>
              </a:rPr>
              <a:t>YOUR PARTNER AT SEA</a:t>
            </a:r>
          </a:p>
        </p:txBody>
      </p:sp>
      <p:sp>
        <p:nvSpPr>
          <p:cNvPr id="9" name="TextBox 1">
            <a:extLst>
              <a:ext uri="{FF2B5EF4-FFF2-40B4-BE49-F238E27FC236}">
                <a16:creationId xmlns:a16="http://schemas.microsoft.com/office/drawing/2014/main" id="{935B172E-4C7C-4434-9930-47C6896606DE}"/>
              </a:ext>
            </a:extLst>
          </p:cNvPr>
          <p:cNvSpPr txBox="1"/>
          <p:nvPr/>
        </p:nvSpPr>
        <p:spPr>
          <a:xfrm>
            <a:off x="-981422" y="6168866"/>
            <a:ext cx="3352800" cy="52111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y  25</a:t>
            </a:r>
            <a:r>
              <a:rPr kumimoji="0" lang="en-US" sz="1600" b="1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H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, 2023</a:t>
            </a:r>
          </a:p>
        </p:txBody>
      </p:sp>
      <p:pic>
        <p:nvPicPr>
          <p:cNvPr id="14" name="Graphic 12">
            <a:extLst>
              <a:ext uri="{FF2B5EF4-FFF2-40B4-BE49-F238E27FC236}">
                <a16:creationId xmlns:a16="http://schemas.microsoft.com/office/drawing/2014/main" id="{789B8C12-B647-4CBB-8321-0B343AAEDB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7700" y="2452827"/>
            <a:ext cx="7642517" cy="849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6710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5">
            <a:extLst>
              <a:ext uri="{FF2B5EF4-FFF2-40B4-BE49-F238E27FC236}">
                <a16:creationId xmlns:a16="http://schemas.microsoft.com/office/drawing/2014/main" id="{F365BD49-32C7-493E-8495-47B40AF56526}"/>
              </a:ext>
            </a:extLst>
          </p:cNvPr>
          <p:cNvGrpSpPr/>
          <p:nvPr/>
        </p:nvGrpSpPr>
        <p:grpSpPr>
          <a:xfrm>
            <a:off x="-1" y="489473"/>
            <a:ext cx="9731995" cy="462579"/>
            <a:chOff x="-1" y="489473"/>
            <a:chExt cx="9731995" cy="462579"/>
          </a:xfrm>
        </p:grpSpPr>
        <p:pic>
          <p:nvPicPr>
            <p:cNvPr id="40" name="Picture 7">
              <a:extLst>
                <a:ext uri="{FF2B5EF4-FFF2-40B4-BE49-F238E27FC236}">
                  <a16:creationId xmlns:a16="http://schemas.microsoft.com/office/drawing/2014/main" id="{E6B139C6-65EB-43F2-B271-DEEB7FBA7E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2359293" y="489473"/>
              <a:ext cx="7372701" cy="462579"/>
            </a:xfrm>
            <a:prstGeom prst="rect">
              <a:avLst/>
            </a:prstGeom>
          </p:spPr>
        </p:pic>
        <p:pic>
          <p:nvPicPr>
            <p:cNvPr id="41" name="Picture 8">
              <a:extLst>
                <a:ext uri="{FF2B5EF4-FFF2-40B4-BE49-F238E27FC236}">
                  <a16:creationId xmlns:a16="http://schemas.microsoft.com/office/drawing/2014/main" id="{64514471-9F92-4909-A2A5-050134E858F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" y="489473"/>
              <a:ext cx="7372701" cy="462579"/>
            </a:xfrm>
            <a:prstGeom prst="rect">
              <a:avLst/>
            </a:prstGeom>
          </p:spPr>
        </p:pic>
      </p:grpSp>
      <p:sp>
        <p:nvSpPr>
          <p:cNvPr id="43" name="Título 4">
            <a:extLst>
              <a:ext uri="{FF2B5EF4-FFF2-40B4-BE49-F238E27FC236}">
                <a16:creationId xmlns:a16="http://schemas.microsoft.com/office/drawing/2014/main" id="{80AB1694-3A06-4BF3-9310-3ECBC9D830B3}"/>
              </a:ext>
            </a:extLst>
          </p:cNvPr>
          <p:cNvSpPr txBox="1">
            <a:spLocks/>
          </p:cNvSpPr>
          <p:nvPr/>
        </p:nvSpPr>
        <p:spPr>
          <a:xfrm>
            <a:off x="198579" y="512520"/>
            <a:ext cx="8954546" cy="46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80 SUBMARINE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MMOBILIZATION PERIOD</a:t>
            </a: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8459DC51-B7B9-A60F-9F60-F503FC7915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6349" y="4985116"/>
            <a:ext cx="4419600" cy="600075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6BAF1E74-9CA1-A184-1253-1BA014FDFA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955" y="2125239"/>
            <a:ext cx="11001375" cy="200977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487403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5">
            <a:extLst>
              <a:ext uri="{FF2B5EF4-FFF2-40B4-BE49-F238E27FC236}">
                <a16:creationId xmlns:a16="http://schemas.microsoft.com/office/drawing/2014/main" id="{F365BD49-32C7-493E-8495-47B40AF56526}"/>
              </a:ext>
            </a:extLst>
          </p:cNvPr>
          <p:cNvGrpSpPr/>
          <p:nvPr/>
        </p:nvGrpSpPr>
        <p:grpSpPr>
          <a:xfrm>
            <a:off x="-1" y="489473"/>
            <a:ext cx="9731995" cy="462579"/>
            <a:chOff x="-1" y="489473"/>
            <a:chExt cx="9731995" cy="462579"/>
          </a:xfrm>
        </p:grpSpPr>
        <p:pic>
          <p:nvPicPr>
            <p:cNvPr id="40" name="Picture 7">
              <a:extLst>
                <a:ext uri="{FF2B5EF4-FFF2-40B4-BE49-F238E27FC236}">
                  <a16:creationId xmlns:a16="http://schemas.microsoft.com/office/drawing/2014/main" id="{E6B139C6-65EB-43F2-B271-DEEB7FBA7E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2359293" y="489473"/>
              <a:ext cx="7372701" cy="462579"/>
            </a:xfrm>
            <a:prstGeom prst="rect">
              <a:avLst/>
            </a:prstGeom>
          </p:spPr>
        </p:pic>
        <p:pic>
          <p:nvPicPr>
            <p:cNvPr id="41" name="Picture 8">
              <a:extLst>
                <a:ext uri="{FF2B5EF4-FFF2-40B4-BE49-F238E27FC236}">
                  <a16:creationId xmlns:a16="http://schemas.microsoft.com/office/drawing/2014/main" id="{64514471-9F92-4909-A2A5-050134E858F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" y="489473"/>
              <a:ext cx="7372701" cy="462579"/>
            </a:xfrm>
            <a:prstGeom prst="rect">
              <a:avLst/>
            </a:prstGeom>
          </p:spPr>
        </p:pic>
      </p:grpSp>
      <p:sp>
        <p:nvSpPr>
          <p:cNvPr id="43" name="Título 4">
            <a:extLst>
              <a:ext uri="{FF2B5EF4-FFF2-40B4-BE49-F238E27FC236}">
                <a16:creationId xmlns:a16="http://schemas.microsoft.com/office/drawing/2014/main" id="{80AB1694-3A06-4BF3-9310-3ECBC9D830B3}"/>
              </a:ext>
            </a:extLst>
          </p:cNvPr>
          <p:cNvSpPr txBox="1">
            <a:spLocks/>
          </p:cNvSpPr>
          <p:nvPr/>
        </p:nvSpPr>
        <p:spPr>
          <a:xfrm>
            <a:off x="198579" y="512520"/>
            <a:ext cx="8954546" cy="46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-80 SUBMARINE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IRD PARTY CERTIFICATION</a:t>
            </a: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0" name="Picture 6">
            <a:extLst>
              <a:ext uri="{FF2B5EF4-FFF2-40B4-BE49-F238E27FC236}">
                <a16:creationId xmlns:a16="http://schemas.microsoft.com/office/drawing/2014/main" id="{4E1EEC6E-D95C-DE7E-0470-E32156F753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901" b="89791" l="9817" r="89954">
                        <a14:foregroundMark x1="62557" y1="13351" x2="38128" y2="12042"/>
                        <a14:foregroundMark x1="38128" y1="12042" x2="27626" y2="20157"/>
                        <a14:foregroundMark x1="27626" y1="20157" x2="20091" y2="31675"/>
                        <a14:foregroundMark x1="20091" y1="31675" x2="15753" y2="45026"/>
                        <a14:foregroundMark x1="15753" y1="45026" x2="15068" y2="59686"/>
                        <a14:foregroundMark x1="15068" y1="59686" x2="22146" y2="73560"/>
                        <a14:foregroundMark x1="22146" y1="73560" x2="34932" y2="83508"/>
                        <a14:foregroundMark x1="34932" y1="83508" x2="47945" y2="87435"/>
                        <a14:foregroundMark x1="47945" y1="87435" x2="59589" y2="86649"/>
                        <a14:foregroundMark x1="59589" y1="86649" x2="71005" y2="78534"/>
                        <a14:foregroundMark x1="71005" y1="78534" x2="79224" y2="65707"/>
                        <a14:foregroundMark x1="79224" y1="65707" x2="83333" y2="47120"/>
                        <a14:foregroundMark x1="83333" y1="47120" x2="79680" y2="31937"/>
                        <a14:foregroundMark x1="79680" y1="31937" x2="70776" y2="19372"/>
                        <a14:foregroundMark x1="70776" y1="19372" x2="61644" y2="14136"/>
                        <a14:foregroundMark x1="50913" y1="13613" x2="38584" y2="14398"/>
                        <a14:foregroundMark x1="38584" y1="14398" x2="28311" y2="21204"/>
                        <a14:foregroundMark x1="28311" y1="21204" x2="23059" y2="41099"/>
                        <a14:foregroundMark x1="23059" y1="41099" x2="28767" y2="59686"/>
                        <a14:foregroundMark x1="28767" y1="59686" x2="36758" y2="70942"/>
                        <a14:foregroundMark x1="36758" y1="70942" x2="53653" y2="74607"/>
                        <a14:foregroundMark x1="53653" y1="74607" x2="68950" y2="71204"/>
                        <a14:foregroundMark x1="68950" y1="71204" x2="75571" y2="57592"/>
                        <a14:foregroundMark x1="75571" y1="57592" x2="76484" y2="42147"/>
                        <a14:foregroundMark x1="76484" y1="42147" x2="71918" y2="27749"/>
                        <a14:foregroundMark x1="71918" y1="27749" x2="62100" y2="16230"/>
                        <a14:foregroundMark x1="62100" y1="16230" x2="51142" y2="14398"/>
                        <a14:foregroundMark x1="47489" y1="12042" x2="26712" y2="19634"/>
                        <a14:foregroundMark x1="26712" y1="19634" x2="23059" y2="36649"/>
                        <a14:foregroundMark x1="23059" y1="36649" x2="44521" y2="50262"/>
                        <a14:foregroundMark x1="44521" y1="50262" x2="73288" y2="45026"/>
                        <a14:foregroundMark x1="73288" y1="45026" x2="77169" y2="31937"/>
                        <a14:foregroundMark x1="77169" y1="31937" x2="67808" y2="19895"/>
                        <a14:foregroundMark x1="67808" y1="19895" x2="47945" y2="11780"/>
                        <a14:foregroundMark x1="49087" y1="13613" x2="35388" y2="14660"/>
                        <a14:foregroundMark x1="35388" y1="14660" x2="26484" y2="25916"/>
                        <a14:foregroundMark x1="26484" y1="25916" x2="30594" y2="46073"/>
                        <a14:foregroundMark x1="30594" y1="46073" x2="51598" y2="51309"/>
                        <a14:foregroundMark x1="51598" y1="51309" x2="65525" y2="47906"/>
                        <a14:foregroundMark x1="65525" y1="47906" x2="74658" y2="37173"/>
                        <a14:foregroundMark x1="74658" y1="37173" x2="68950" y2="24346"/>
                        <a14:foregroundMark x1="68950" y1="24346" x2="55936" y2="14398"/>
                        <a14:foregroundMark x1="55936" y1="14398" x2="46347" y2="15707"/>
                        <a14:foregroundMark x1="54110" y1="18586" x2="33790" y2="22251"/>
                        <a14:foregroundMark x1="33790" y1="22251" x2="28082" y2="39791"/>
                        <a14:foregroundMark x1="28082" y1="39791" x2="36986" y2="50000"/>
                        <a14:foregroundMark x1="36986" y1="50000" x2="52740" y2="50000"/>
                        <a14:foregroundMark x1="52740" y1="50000" x2="65753" y2="43194"/>
                        <a14:foregroundMark x1="65753" y1="43194" x2="66438" y2="29319"/>
                        <a14:foregroundMark x1="66438" y1="29319" x2="54110" y2="18325"/>
                        <a14:foregroundMark x1="42694" y1="21466" x2="34018" y2="30366"/>
                        <a14:foregroundMark x1="34018" y1="30366" x2="45662" y2="39791"/>
                        <a14:foregroundMark x1="45662" y1="39791" x2="51142" y2="25131"/>
                        <a14:foregroundMark x1="51142" y1="25131" x2="40411" y2="21204"/>
                        <a14:foregroundMark x1="60731" y1="10733" x2="36530" y2="8901"/>
                        <a14:foregroundMark x1="36530" y1="8901" x2="33333" y2="11780"/>
                        <a14:foregroundMark x1="19863" y1="45812" x2="20091" y2="66230"/>
                        <a14:foregroundMark x1="20091" y1="66230" x2="30822" y2="79581"/>
                        <a14:foregroundMark x1="30822" y1="79581" x2="44749" y2="83770"/>
                        <a14:foregroundMark x1="44749" y1="83770" x2="62785" y2="83770"/>
                        <a14:foregroundMark x1="62785" y1="83770" x2="55479" y2="69634"/>
                        <a14:foregroundMark x1="55479" y1="69634" x2="40183" y2="67801"/>
                        <a14:foregroundMark x1="40183" y1="67801" x2="33105" y2="56283"/>
                        <a14:foregroundMark x1="33105" y1="56283" x2="21689" y2="48429"/>
                        <a14:foregroundMark x1="21689" y1="48429" x2="20091" y2="4790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9540992" y="3650369"/>
            <a:ext cx="1819734" cy="15870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CC18F5DF-22DC-EF7C-08F0-C970C4622FB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723" y="4139271"/>
            <a:ext cx="8425402" cy="1774090"/>
          </a:xfrm>
          <a:prstGeom prst="rect">
            <a:avLst/>
          </a:prstGeom>
        </p:spPr>
      </p:pic>
      <p:sp>
        <p:nvSpPr>
          <p:cNvPr id="28" name="TextBox 71">
            <a:extLst>
              <a:ext uri="{FF2B5EF4-FFF2-40B4-BE49-F238E27FC236}">
                <a16:creationId xmlns:a16="http://schemas.microsoft.com/office/drawing/2014/main" id="{0979CAA4-1F53-28BE-6FF7-06A6A762DA6E}"/>
              </a:ext>
            </a:extLst>
          </p:cNvPr>
          <p:cNvSpPr txBox="1"/>
          <p:nvPr/>
        </p:nvSpPr>
        <p:spPr>
          <a:xfrm>
            <a:off x="463151" y="1351752"/>
            <a:ext cx="9463925" cy="248837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868" tIns="43434" rIns="86868" bIns="43434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71820" lvl="1">
              <a:spcBef>
                <a:spcPts val="600"/>
              </a:spcBef>
              <a:spcAft>
                <a:spcPts val="600"/>
              </a:spcAft>
              <a:buClr>
                <a:srgbClr val="005DB6"/>
              </a:buClr>
              <a:buSzPct val="100000"/>
            </a:pPr>
            <a:r>
              <a:rPr lang="en-US" b="1" dirty="0">
                <a:solidFill>
                  <a:srgbClr val="00326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TSUB</a:t>
            </a:r>
            <a:r>
              <a:rPr lang="en-US" dirty="0">
                <a:solidFill>
                  <a:srgbClr val="00326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rogram approach to </a:t>
            </a:r>
            <a:r>
              <a:rPr lang="en-US" b="1" dirty="0">
                <a:solidFill>
                  <a:srgbClr val="00326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 Navy SUBSAFE </a:t>
            </a:r>
          </a:p>
          <a:p>
            <a:pPr marL="71820" lvl="1">
              <a:spcBef>
                <a:spcPts val="600"/>
              </a:spcBef>
              <a:spcAft>
                <a:spcPts val="600"/>
              </a:spcAft>
              <a:buClr>
                <a:srgbClr val="005DB6"/>
              </a:buClr>
              <a:buSzPct val="100000"/>
            </a:pPr>
            <a:r>
              <a:rPr lang="en-US" dirty="0">
                <a:solidFill>
                  <a:srgbClr val="00326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t ensures the submarine is </a:t>
            </a:r>
            <a:r>
              <a:rPr lang="en-US" b="1" dirty="0">
                <a:solidFill>
                  <a:srgbClr val="00326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atertight</a:t>
            </a:r>
            <a:r>
              <a:rPr lang="en-US" dirty="0">
                <a:solidFill>
                  <a:srgbClr val="00326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nd resistant to maximum operating depth and in case of water ingress, it is capable to safely get to the surface.</a:t>
            </a:r>
          </a:p>
          <a:p>
            <a:pPr marL="71820" lvl="1">
              <a:spcBef>
                <a:spcPts val="600"/>
              </a:spcBef>
              <a:spcAft>
                <a:spcPts val="600"/>
              </a:spcAft>
              <a:buClr>
                <a:srgbClr val="005DB6"/>
              </a:buClr>
              <a:buSzPct val="100000"/>
            </a:pPr>
            <a:r>
              <a:rPr lang="en-US" dirty="0">
                <a:solidFill>
                  <a:srgbClr val="00326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t ranges from </a:t>
            </a:r>
            <a:r>
              <a:rPr lang="en-US" b="1" dirty="0">
                <a:solidFill>
                  <a:srgbClr val="00326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teriel</a:t>
            </a:r>
            <a:r>
              <a:rPr lang="en-US" dirty="0">
                <a:solidFill>
                  <a:srgbClr val="00326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verification, </a:t>
            </a:r>
            <a:r>
              <a:rPr lang="en-US" b="1" dirty="0">
                <a:solidFill>
                  <a:srgbClr val="00326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sign</a:t>
            </a:r>
            <a:r>
              <a:rPr lang="en-US" dirty="0">
                <a:solidFill>
                  <a:srgbClr val="00326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ssessment of watertight integrity &amp; recovery systems, </a:t>
            </a:r>
            <a:r>
              <a:rPr lang="en-US" b="1" dirty="0">
                <a:solidFill>
                  <a:srgbClr val="00326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struction &amp; testing </a:t>
            </a:r>
            <a:r>
              <a:rPr lang="en-US" dirty="0">
                <a:solidFill>
                  <a:srgbClr val="00326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erification processes, in-service certification and re-entry control during </a:t>
            </a:r>
            <a:r>
              <a:rPr lang="en-US" b="1" dirty="0">
                <a:solidFill>
                  <a:srgbClr val="00326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intenance</a:t>
            </a:r>
          </a:p>
          <a:p>
            <a:pPr marL="71820" lvl="1">
              <a:spcBef>
                <a:spcPts val="600"/>
              </a:spcBef>
              <a:spcAft>
                <a:spcPts val="600"/>
              </a:spcAft>
              <a:buClr>
                <a:srgbClr val="005DB6"/>
              </a:buClr>
              <a:buSzPct val="100000"/>
            </a:pPr>
            <a:r>
              <a:rPr lang="en-US" dirty="0">
                <a:solidFill>
                  <a:srgbClr val="00326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t complies with </a:t>
            </a:r>
            <a:r>
              <a:rPr lang="en-US" b="1" dirty="0">
                <a:solidFill>
                  <a:srgbClr val="00326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IL-STD-882 and Fly by Wire</a:t>
            </a:r>
          </a:p>
        </p:txBody>
      </p:sp>
      <p:pic>
        <p:nvPicPr>
          <p:cNvPr id="29" name="Imagen 28" descr="Imagen que contiene tabla, grande&#10;&#10;Descripción generada automáticamente">
            <a:extLst>
              <a:ext uri="{FF2B5EF4-FFF2-40B4-BE49-F238E27FC236}">
                <a16:creationId xmlns:a16="http://schemas.microsoft.com/office/drawing/2014/main" id="{5E7A0D57-C9E5-6258-D6B5-E674DDE666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08359" y="2687941"/>
            <a:ext cx="485001" cy="880277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B76061D6-9972-DE3B-DC81-686CF5F6B41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982" b="6643"/>
          <a:stretch/>
        </p:blipFill>
        <p:spPr>
          <a:xfrm>
            <a:off x="10165421" y="5412889"/>
            <a:ext cx="570876" cy="283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6685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5">
            <a:extLst>
              <a:ext uri="{FF2B5EF4-FFF2-40B4-BE49-F238E27FC236}">
                <a16:creationId xmlns:a16="http://schemas.microsoft.com/office/drawing/2014/main" id="{F365BD49-32C7-493E-8495-47B40AF56526}"/>
              </a:ext>
            </a:extLst>
          </p:cNvPr>
          <p:cNvGrpSpPr/>
          <p:nvPr/>
        </p:nvGrpSpPr>
        <p:grpSpPr>
          <a:xfrm>
            <a:off x="-1" y="489473"/>
            <a:ext cx="9731995" cy="462579"/>
            <a:chOff x="-1" y="489473"/>
            <a:chExt cx="9731995" cy="462579"/>
          </a:xfrm>
        </p:grpSpPr>
        <p:pic>
          <p:nvPicPr>
            <p:cNvPr id="40" name="Picture 7">
              <a:extLst>
                <a:ext uri="{FF2B5EF4-FFF2-40B4-BE49-F238E27FC236}">
                  <a16:creationId xmlns:a16="http://schemas.microsoft.com/office/drawing/2014/main" id="{E6B139C6-65EB-43F2-B271-DEEB7FBA7E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2359293" y="489473"/>
              <a:ext cx="7372701" cy="462579"/>
            </a:xfrm>
            <a:prstGeom prst="rect">
              <a:avLst/>
            </a:prstGeom>
          </p:spPr>
        </p:pic>
        <p:pic>
          <p:nvPicPr>
            <p:cNvPr id="41" name="Picture 8">
              <a:extLst>
                <a:ext uri="{FF2B5EF4-FFF2-40B4-BE49-F238E27FC236}">
                  <a16:creationId xmlns:a16="http://schemas.microsoft.com/office/drawing/2014/main" id="{64514471-9F92-4909-A2A5-050134E858F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" y="489473"/>
              <a:ext cx="7372701" cy="462579"/>
            </a:xfrm>
            <a:prstGeom prst="rect">
              <a:avLst/>
            </a:prstGeom>
          </p:spPr>
        </p:pic>
      </p:grpSp>
      <p:sp>
        <p:nvSpPr>
          <p:cNvPr id="43" name="Título 4">
            <a:extLst>
              <a:ext uri="{FF2B5EF4-FFF2-40B4-BE49-F238E27FC236}">
                <a16:creationId xmlns:a16="http://schemas.microsoft.com/office/drawing/2014/main" id="{80AB1694-3A06-4BF3-9310-3ECBC9D830B3}"/>
              </a:ext>
            </a:extLst>
          </p:cNvPr>
          <p:cNvSpPr txBox="1">
            <a:spLocks/>
          </p:cNvSpPr>
          <p:nvPr/>
        </p:nvSpPr>
        <p:spPr>
          <a:xfrm>
            <a:off x="198579" y="512520"/>
            <a:ext cx="8954546" cy="46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EGRATION EFFORT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YSTEM OF SYSTEMS</a:t>
            </a: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4" name="TextBox 108">
            <a:extLst>
              <a:ext uri="{FF2B5EF4-FFF2-40B4-BE49-F238E27FC236}">
                <a16:creationId xmlns:a16="http://schemas.microsoft.com/office/drawing/2014/main" id="{B0DA3B93-7EE2-8271-3349-C5630F3385C5}"/>
              </a:ext>
            </a:extLst>
          </p:cNvPr>
          <p:cNvSpPr txBox="1"/>
          <p:nvPr/>
        </p:nvSpPr>
        <p:spPr>
          <a:xfrm>
            <a:off x="9393806" y="1647729"/>
            <a:ext cx="2502516" cy="250376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6868" tIns="43434" rIns="86868" bIns="43434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305C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05C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uilding a system of systems with industry leaders as key partners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305C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</a:t>
            </a:r>
          </a:p>
          <a:p>
            <a:pPr marL="71820" marR="0" lvl="1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DB6"/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305C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+mn-cs"/>
            </a:endParaRPr>
          </a:p>
          <a:p>
            <a:pPr marL="71820" marR="0" lvl="1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DB6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305C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The S-80 submarine is the result of many collaborations between world-class companies, committed to supplying state-of-the-art technology and coordinated by Navantia as the main contractor.</a:t>
            </a:r>
          </a:p>
        </p:txBody>
      </p:sp>
      <p:grpSp>
        <p:nvGrpSpPr>
          <p:cNvPr id="45" name="Group 100">
            <a:extLst>
              <a:ext uri="{FF2B5EF4-FFF2-40B4-BE49-F238E27FC236}">
                <a16:creationId xmlns:a16="http://schemas.microsoft.com/office/drawing/2014/main" id="{68B00A20-E5E6-B96B-4ED5-62782AC65550}"/>
              </a:ext>
            </a:extLst>
          </p:cNvPr>
          <p:cNvGrpSpPr/>
          <p:nvPr/>
        </p:nvGrpSpPr>
        <p:grpSpPr>
          <a:xfrm>
            <a:off x="10299404" y="1195164"/>
            <a:ext cx="688434" cy="688434"/>
            <a:chOff x="9554305" y="1698203"/>
            <a:chExt cx="494958" cy="494958"/>
          </a:xfrm>
        </p:grpSpPr>
        <p:sp>
          <p:nvSpPr>
            <p:cNvPr id="46" name="Oval 85">
              <a:extLst>
                <a:ext uri="{FF2B5EF4-FFF2-40B4-BE49-F238E27FC236}">
                  <a16:creationId xmlns:a16="http://schemas.microsoft.com/office/drawing/2014/main" id="{CDE2757E-207F-047E-287F-776E50755978}"/>
                </a:ext>
              </a:extLst>
            </p:cNvPr>
            <p:cNvSpPr/>
            <p:nvPr/>
          </p:nvSpPr>
          <p:spPr>
            <a:xfrm>
              <a:off x="9554305" y="1698203"/>
              <a:ext cx="494958" cy="494958"/>
            </a:xfrm>
            <a:prstGeom prst="ellipse">
              <a:avLst/>
            </a:prstGeom>
            <a:solidFill>
              <a:srgbClr val="00305C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86868" tIns="43434" rIns="86868" bIns="4343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grpSp>
          <p:nvGrpSpPr>
            <p:cNvPr id="47" name="Group 89">
              <a:extLst>
                <a:ext uri="{FF2B5EF4-FFF2-40B4-BE49-F238E27FC236}">
                  <a16:creationId xmlns:a16="http://schemas.microsoft.com/office/drawing/2014/main" id="{B0F469EB-A65F-1841-4D72-5E30F7EABBB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615850" y="1759748"/>
              <a:ext cx="371869" cy="371869"/>
              <a:chOff x="5273675" y="2606675"/>
              <a:chExt cx="1644650" cy="1644650"/>
            </a:xfrm>
          </p:grpSpPr>
          <p:sp>
            <p:nvSpPr>
              <p:cNvPr id="48" name="AutoShape 17">
                <a:extLst>
                  <a:ext uri="{FF2B5EF4-FFF2-40B4-BE49-F238E27FC236}">
                    <a16:creationId xmlns:a16="http://schemas.microsoft.com/office/drawing/2014/main" id="{804A2B22-8FB2-0442-97BD-8431E2565B0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6868" tIns="43434" rIns="86868" bIns="43434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/>
                </a:endParaRPr>
              </a:p>
            </p:txBody>
          </p:sp>
          <p:sp>
            <p:nvSpPr>
              <p:cNvPr id="49" name="Freeform 38">
                <a:extLst>
                  <a:ext uri="{FF2B5EF4-FFF2-40B4-BE49-F238E27FC236}">
                    <a16:creationId xmlns:a16="http://schemas.microsoft.com/office/drawing/2014/main" id="{9D3F9C82-4E48-B145-071E-6B62E4CDB1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3688" y="2690813"/>
                <a:ext cx="1446213" cy="1476375"/>
              </a:xfrm>
              <a:custGeom>
                <a:avLst/>
                <a:gdLst>
                  <a:gd name="connsiteX0" fmla="*/ 1156494 w 1446213"/>
                  <a:gd name="connsiteY0" fmla="*/ 1112837 h 1476375"/>
                  <a:gd name="connsiteX1" fmla="*/ 1281113 w 1446213"/>
                  <a:gd name="connsiteY1" fmla="*/ 1237456 h 1476375"/>
                  <a:gd name="connsiteX2" fmla="*/ 1156494 w 1446213"/>
                  <a:gd name="connsiteY2" fmla="*/ 1362075 h 1476375"/>
                  <a:gd name="connsiteX3" fmla="*/ 1031875 w 1446213"/>
                  <a:gd name="connsiteY3" fmla="*/ 1237456 h 1476375"/>
                  <a:gd name="connsiteX4" fmla="*/ 1156494 w 1446213"/>
                  <a:gd name="connsiteY4" fmla="*/ 1112837 h 1476375"/>
                  <a:gd name="connsiteX5" fmla="*/ 1156494 w 1446213"/>
                  <a:gd name="connsiteY5" fmla="*/ 1079500 h 1476375"/>
                  <a:gd name="connsiteX6" fmla="*/ 1069689 w 1446213"/>
                  <a:gd name="connsiteY6" fmla="*/ 1105231 h 1476375"/>
                  <a:gd name="connsiteX7" fmla="*/ 1044074 w 1446213"/>
                  <a:gd name="connsiteY7" fmla="*/ 1126673 h 1476375"/>
                  <a:gd name="connsiteX8" fmla="*/ 998537 w 1446213"/>
                  <a:gd name="connsiteY8" fmla="*/ 1237457 h 1476375"/>
                  <a:gd name="connsiteX9" fmla="*/ 1156494 w 1446213"/>
                  <a:gd name="connsiteY9" fmla="*/ 1395413 h 1476375"/>
                  <a:gd name="connsiteX10" fmla="*/ 1314450 w 1446213"/>
                  <a:gd name="connsiteY10" fmla="*/ 1237457 h 1476375"/>
                  <a:gd name="connsiteX11" fmla="*/ 1156494 w 1446213"/>
                  <a:gd name="connsiteY11" fmla="*/ 1079500 h 1476375"/>
                  <a:gd name="connsiteX12" fmla="*/ 273844 w 1446213"/>
                  <a:gd name="connsiteY12" fmla="*/ 1065212 h 1476375"/>
                  <a:gd name="connsiteX13" fmla="*/ 446088 w 1446213"/>
                  <a:gd name="connsiteY13" fmla="*/ 1237456 h 1476375"/>
                  <a:gd name="connsiteX14" fmla="*/ 273844 w 1446213"/>
                  <a:gd name="connsiteY14" fmla="*/ 1409700 h 1476375"/>
                  <a:gd name="connsiteX15" fmla="*/ 101600 w 1446213"/>
                  <a:gd name="connsiteY15" fmla="*/ 1237456 h 1476375"/>
                  <a:gd name="connsiteX16" fmla="*/ 273844 w 1446213"/>
                  <a:gd name="connsiteY16" fmla="*/ 1065212 h 1476375"/>
                  <a:gd name="connsiteX17" fmla="*/ 273844 w 1446213"/>
                  <a:gd name="connsiteY17" fmla="*/ 1031875 h 1476375"/>
                  <a:gd name="connsiteX18" fmla="*/ 68262 w 1446213"/>
                  <a:gd name="connsiteY18" fmla="*/ 1237457 h 1476375"/>
                  <a:gd name="connsiteX19" fmla="*/ 273844 w 1446213"/>
                  <a:gd name="connsiteY19" fmla="*/ 1443038 h 1476375"/>
                  <a:gd name="connsiteX20" fmla="*/ 479425 w 1446213"/>
                  <a:gd name="connsiteY20" fmla="*/ 1237457 h 1476375"/>
                  <a:gd name="connsiteX21" fmla="*/ 431599 w 1446213"/>
                  <a:gd name="connsiteY21" fmla="*/ 1106113 h 1476375"/>
                  <a:gd name="connsiteX22" fmla="*/ 408043 w 1446213"/>
                  <a:gd name="connsiteY22" fmla="*/ 1082557 h 1476375"/>
                  <a:gd name="connsiteX23" fmla="*/ 273844 w 1446213"/>
                  <a:gd name="connsiteY23" fmla="*/ 1031875 h 1476375"/>
                  <a:gd name="connsiteX24" fmla="*/ 1300957 w 1446213"/>
                  <a:gd name="connsiteY24" fmla="*/ 682625 h 1476375"/>
                  <a:gd name="connsiteX25" fmla="*/ 1379539 w 1446213"/>
                  <a:gd name="connsiteY25" fmla="*/ 761207 h 1476375"/>
                  <a:gd name="connsiteX26" fmla="*/ 1300957 w 1446213"/>
                  <a:gd name="connsiteY26" fmla="*/ 839789 h 1476375"/>
                  <a:gd name="connsiteX27" fmla="*/ 1222375 w 1446213"/>
                  <a:gd name="connsiteY27" fmla="*/ 761207 h 1476375"/>
                  <a:gd name="connsiteX28" fmla="*/ 1300957 w 1446213"/>
                  <a:gd name="connsiteY28" fmla="*/ 682625 h 1476375"/>
                  <a:gd name="connsiteX29" fmla="*/ 1301314 w 1446213"/>
                  <a:gd name="connsiteY29" fmla="*/ 649287 h 1476375"/>
                  <a:gd name="connsiteX30" fmla="*/ 1189752 w 1446213"/>
                  <a:gd name="connsiteY30" fmla="*/ 744400 h 1476375"/>
                  <a:gd name="connsiteX31" fmla="*/ 1189037 w 1446213"/>
                  <a:gd name="connsiteY31" fmla="*/ 760849 h 1476375"/>
                  <a:gd name="connsiteX32" fmla="*/ 1189752 w 1446213"/>
                  <a:gd name="connsiteY32" fmla="*/ 778012 h 1476375"/>
                  <a:gd name="connsiteX33" fmla="*/ 1301314 w 1446213"/>
                  <a:gd name="connsiteY33" fmla="*/ 873125 h 1476375"/>
                  <a:gd name="connsiteX34" fmla="*/ 1412875 w 1446213"/>
                  <a:gd name="connsiteY34" fmla="*/ 760849 h 1476375"/>
                  <a:gd name="connsiteX35" fmla="*/ 1301314 w 1446213"/>
                  <a:gd name="connsiteY35" fmla="*/ 649287 h 1476375"/>
                  <a:gd name="connsiteX36" fmla="*/ 762794 w 1446213"/>
                  <a:gd name="connsiteY36" fmla="*/ 560387 h 1476375"/>
                  <a:gd name="connsiteX37" fmla="*/ 963613 w 1446213"/>
                  <a:gd name="connsiteY37" fmla="*/ 760412 h 1476375"/>
                  <a:gd name="connsiteX38" fmla="*/ 762794 w 1446213"/>
                  <a:gd name="connsiteY38" fmla="*/ 960437 h 1476375"/>
                  <a:gd name="connsiteX39" fmla="*/ 561975 w 1446213"/>
                  <a:gd name="connsiteY39" fmla="*/ 760412 h 1476375"/>
                  <a:gd name="connsiteX40" fmla="*/ 762794 w 1446213"/>
                  <a:gd name="connsiteY40" fmla="*/ 560387 h 1476375"/>
                  <a:gd name="connsiteX41" fmla="*/ 763508 w 1446213"/>
                  <a:gd name="connsiteY41" fmla="*/ 528637 h 1476375"/>
                  <a:gd name="connsiteX42" fmla="*/ 610021 w 1446213"/>
                  <a:gd name="connsiteY42" fmla="*/ 584910 h 1476375"/>
                  <a:gd name="connsiteX43" fmla="*/ 585749 w 1446213"/>
                  <a:gd name="connsiteY43" fmla="*/ 608416 h 1476375"/>
                  <a:gd name="connsiteX44" fmla="*/ 528637 w 1446213"/>
                  <a:gd name="connsiteY44" fmla="*/ 760850 h 1476375"/>
                  <a:gd name="connsiteX45" fmla="*/ 584321 w 1446213"/>
                  <a:gd name="connsiteY45" fmla="*/ 911147 h 1476375"/>
                  <a:gd name="connsiteX46" fmla="*/ 607165 w 1446213"/>
                  <a:gd name="connsiteY46" fmla="*/ 934653 h 1476375"/>
                  <a:gd name="connsiteX47" fmla="*/ 763508 w 1446213"/>
                  <a:gd name="connsiteY47" fmla="*/ 993775 h 1476375"/>
                  <a:gd name="connsiteX48" fmla="*/ 897719 w 1446213"/>
                  <a:gd name="connsiteY48" fmla="*/ 951037 h 1476375"/>
                  <a:gd name="connsiteX49" fmla="*/ 924133 w 1446213"/>
                  <a:gd name="connsiteY49" fmla="*/ 929667 h 1476375"/>
                  <a:gd name="connsiteX50" fmla="*/ 996236 w 1446213"/>
                  <a:gd name="connsiteY50" fmla="*/ 777945 h 1476375"/>
                  <a:gd name="connsiteX51" fmla="*/ 996950 w 1446213"/>
                  <a:gd name="connsiteY51" fmla="*/ 760850 h 1476375"/>
                  <a:gd name="connsiteX52" fmla="*/ 996236 w 1446213"/>
                  <a:gd name="connsiteY52" fmla="*/ 744467 h 1476375"/>
                  <a:gd name="connsiteX53" fmla="*/ 872019 w 1446213"/>
                  <a:gd name="connsiteY53" fmla="*/ 554993 h 1476375"/>
                  <a:gd name="connsiteX54" fmla="*/ 841322 w 1446213"/>
                  <a:gd name="connsiteY54" fmla="*/ 542171 h 1476375"/>
                  <a:gd name="connsiteX55" fmla="*/ 763508 w 1446213"/>
                  <a:gd name="connsiteY55" fmla="*/ 528637 h 1476375"/>
                  <a:gd name="connsiteX56" fmla="*/ 1032669 w 1446213"/>
                  <a:gd name="connsiteY56" fmla="*/ 100012 h 1476375"/>
                  <a:gd name="connsiteX57" fmla="*/ 1084263 w 1446213"/>
                  <a:gd name="connsiteY57" fmla="*/ 150812 h 1476375"/>
                  <a:gd name="connsiteX58" fmla="*/ 1032669 w 1446213"/>
                  <a:gd name="connsiteY58" fmla="*/ 201612 h 1476375"/>
                  <a:gd name="connsiteX59" fmla="*/ 981075 w 1446213"/>
                  <a:gd name="connsiteY59" fmla="*/ 150812 h 1476375"/>
                  <a:gd name="connsiteX60" fmla="*/ 1032669 w 1446213"/>
                  <a:gd name="connsiteY60" fmla="*/ 100012 h 1476375"/>
                  <a:gd name="connsiteX61" fmla="*/ 1031875 w 1446213"/>
                  <a:gd name="connsiteY61" fmla="*/ 66675 h 1476375"/>
                  <a:gd name="connsiteX62" fmla="*/ 947737 w 1446213"/>
                  <a:gd name="connsiteY62" fmla="*/ 150813 h 1476375"/>
                  <a:gd name="connsiteX63" fmla="*/ 983389 w 1446213"/>
                  <a:gd name="connsiteY63" fmla="*/ 219263 h 1476375"/>
                  <a:gd name="connsiteX64" fmla="*/ 1013336 w 1446213"/>
                  <a:gd name="connsiteY64" fmla="*/ 232811 h 1476375"/>
                  <a:gd name="connsiteX65" fmla="*/ 1031875 w 1446213"/>
                  <a:gd name="connsiteY65" fmla="*/ 234950 h 1476375"/>
                  <a:gd name="connsiteX66" fmla="*/ 1116012 w 1446213"/>
                  <a:gd name="connsiteY66" fmla="*/ 150813 h 1476375"/>
                  <a:gd name="connsiteX67" fmla="*/ 1031875 w 1446213"/>
                  <a:gd name="connsiteY67" fmla="*/ 66675 h 1476375"/>
                  <a:gd name="connsiteX68" fmla="*/ 192881 w 1446213"/>
                  <a:gd name="connsiteY68" fmla="*/ 66675 h 1476375"/>
                  <a:gd name="connsiteX69" fmla="*/ 317500 w 1446213"/>
                  <a:gd name="connsiteY69" fmla="*/ 191294 h 1476375"/>
                  <a:gd name="connsiteX70" fmla="*/ 192881 w 1446213"/>
                  <a:gd name="connsiteY70" fmla="*/ 315913 h 1476375"/>
                  <a:gd name="connsiteX71" fmla="*/ 68262 w 1446213"/>
                  <a:gd name="connsiteY71" fmla="*/ 191294 h 1476375"/>
                  <a:gd name="connsiteX72" fmla="*/ 192881 w 1446213"/>
                  <a:gd name="connsiteY72" fmla="*/ 66675 h 1476375"/>
                  <a:gd name="connsiteX73" fmla="*/ 190937 w 1446213"/>
                  <a:gd name="connsiteY73" fmla="*/ 33337 h 1476375"/>
                  <a:gd name="connsiteX74" fmla="*/ 33337 w 1446213"/>
                  <a:gd name="connsiteY74" fmla="*/ 191650 h 1476375"/>
                  <a:gd name="connsiteX75" fmla="*/ 190937 w 1446213"/>
                  <a:gd name="connsiteY75" fmla="*/ 349250 h 1476375"/>
                  <a:gd name="connsiteX76" fmla="*/ 290774 w 1446213"/>
                  <a:gd name="connsiteY76" fmla="*/ 313594 h 1476375"/>
                  <a:gd name="connsiteX77" fmla="*/ 314307 w 1446213"/>
                  <a:gd name="connsiteY77" fmla="*/ 290061 h 1476375"/>
                  <a:gd name="connsiteX78" fmla="*/ 349250 w 1446213"/>
                  <a:gd name="connsiteY78" fmla="*/ 191650 h 1476375"/>
                  <a:gd name="connsiteX79" fmla="*/ 190937 w 1446213"/>
                  <a:gd name="connsiteY79" fmla="*/ 33337 h 1476375"/>
                  <a:gd name="connsiteX80" fmla="*/ 191306 w 1446213"/>
                  <a:gd name="connsiteY80" fmla="*/ 0 h 1476375"/>
                  <a:gd name="connsiteX81" fmla="*/ 383325 w 1446213"/>
                  <a:gd name="connsiteY81" fmla="*/ 191858 h 1476375"/>
                  <a:gd name="connsiteX82" fmla="*/ 338354 w 1446213"/>
                  <a:gd name="connsiteY82" fmla="*/ 313819 h 1476375"/>
                  <a:gd name="connsiteX83" fmla="*/ 586052 w 1446213"/>
                  <a:gd name="connsiteY83" fmla="*/ 561308 h 1476375"/>
                  <a:gd name="connsiteX84" fmla="*/ 763795 w 1446213"/>
                  <a:gd name="connsiteY84" fmla="*/ 494978 h 1476375"/>
                  <a:gd name="connsiteX85" fmla="*/ 855165 w 1446213"/>
                  <a:gd name="connsiteY85" fmla="*/ 510669 h 1476375"/>
                  <a:gd name="connsiteX86" fmla="*/ 970091 w 1446213"/>
                  <a:gd name="connsiteY86" fmla="*/ 251055 h 1476375"/>
                  <a:gd name="connsiteX87" fmla="*/ 914412 w 1446213"/>
                  <a:gd name="connsiteY87" fmla="*/ 151204 h 1476375"/>
                  <a:gd name="connsiteX88" fmla="*/ 1032194 w 1446213"/>
                  <a:gd name="connsiteY88" fmla="*/ 33522 h 1476375"/>
                  <a:gd name="connsiteX89" fmla="*/ 1149975 w 1446213"/>
                  <a:gd name="connsiteY89" fmla="*/ 151204 h 1476375"/>
                  <a:gd name="connsiteX90" fmla="*/ 1032194 w 1446213"/>
                  <a:gd name="connsiteY90" fmla="*/ 268886 h 1476375"/>
                  <a:gd name="connsiteX91" fmla="*/ 1000071 w 1446213"/>
                  <a:gd name="connsiteY91" fmla="*/ 264606 h 1476375"/>
                  <a:gd name="connsiteX92" fmla="*/ 885859 w 1446213"/>
                  <a:gd name="connsiteY92" fmla="*/ 524220 h 1476375"/>
                  <a:gd name="connsiteX93" fmla="*/ 1030052 w 1446213"/>
                  <a:gd name="connsiteY93" fmla="*/ 744607 h 1476375"/>
                  <a:gd name="connsiteX94" fmla="*/ 1156400 w 1446213"/>
                  <a:gd name="connsiteY94" fmla="*/ 744607 h 1476375"/>
                  <a:gd name="connsiteX95" fmla="*/ 1301306 w 1446213"/>
                  <a:gd name="connsiteY95" fmla="*/ 616226 h 1476375"/>
                  <a:gd name="connsiteX96" fmla="*/ 1446213 w 1446213"/>
                  <a:gd name="connsiteY96" fmla="*/ 761011 h 1476375"/>
                  <a:gd name="connsiteX97" fmla="*/ 1301306 w 1446213"/>
                  <a:gd name="connsiteY97" fmla="*/ 906509 h 1476375"/>
                  <a:gd name="connsiteX98" fmla="*/ 1156400 w 1446213"/>
                  <a:gd name="connsiteY98" fmla="*/ 778128 h 1476375"/>
                  <a:gd name="connsiteX99" fmla="*/ 1030052 w 1446213"/>
                  <a:gd name="connsiteY99" fmla="*/ 778128 h 1476375"/>
                  <a:gd name="connsiteX100" fmla="*/ 945107 w 1446213"/>
                  <a:gd name="connsiteY100" fmla="*/ 955721 h 1476375"/>
                  <a:gd name="connsiteX101" fmla="*/ 1047898 w 1446213"/>
                  <a:gd name="connsiteY101" fmla="*/ 1079822 h 1476375"/>
                  <a:gd name="connsiteX102" fmla="*/ 1156400 w 1446213"/>
                  <a:gd name="connsiteY102" fmla="*/ 1046301 h 1476375"/>
                  <a:gd name="connsiteX103" fmla="*/ 1348419 w 1446213"/>
                  <a:gd name="connsiteY103" fmla="*/ 1237445 h 1476375"/>
                  <a:gd name="connsiteX104" fmla="*/ 1156400 w 1446213"/>
                  <a:gd name="connsiteY104" fmla="*/ 1428589 h 1476375"/>
                  <a:gd name="connsiteX105" fmla="*/ 964380 w 1446213"/>
                  <a:gd name="connsiteY105" fmla="*/ 1237445 h 1476375"/>
                  <a:gd name="connsiteX106" fmla="*/ 1022200 w 1446213"/>
                  <a:gd name="connsiteY106" fmla="*/ 1101219 h 1476375"/>
                  <a:gd name="connsiteX107" fmla="*/ 919409 w 1446213"/>
                  <a:gd name="connsiteY107" fmla="*/ 977118 h 1476375"/>
                  <a:gd name="connsiteX108" fmla="*/ 763795 w 1446213"/>
                  <a:gd name="connsiteY108" fmla="*/ 1027757 h 1476375"/>
                  <a:gd name="connsiteX109" fmla="*/ 583911 w 1446213"/>
                  <a:gd name="connsiteY109" fmla="*/ 958574 h 1476375"/>
                  <a:gd name="connsiteX110" fmla="*/ 456136 w 1446213"/>
                  <a:gd name="connsiteY110" fmla="*/ 1083388 h 1476375"/>
                  <a:gd name="connsiteX111" fmla="*/ 512528 w 1446213"/>
                  <a:gd name="connsiteY111" fmla="*/ 1237445 h 1476375"/>
                  <a:gd name="connsiteX112" fmla="*/ 273396 w 1446213"/>
                  <a:gd name="connsiteY112" fmla="*/ 1476375 h 1476375"/>
                  <a:gd name="connsiteX113" fmla="*/ 34264 w 1446213"/>
                  <a:gd name="connsiteY113" fmla="*/ 1237445 h 1476375"/>
                  <a:gd name="connsiteX114" fmla="*/ 273396 w 1446213"/>
                  <a:gd name="connsiteY114" fmla="*/ 998515 h 1476375"/>
                  <a:gd name="connsiteX115" fmla="*/ 432579 w 1446213"/>
                  <a:gd name="connsiteY115" fmla="*/ 1059139 h 1476375"/>
                  <a:gd name="connsiteX116" fmla="*/ 560354 w 1446213"/>
                  <a:gd name="connsiteY116" fmla="*/ 934324 h 1476375"/>
                  <a:gd name="connsiteX117" fmla="*/ 495396 w 1446213"/>
                  <a:gd name="connsiteY117" fmla="*/ 761011 h 1476375"/>
                  <a:gd name="connsiteX118" fmla="*/ 562496 w 1446213"/>
                  <a:gd name="connsiteY118" fmla="*/ 584844 h 1476375"/>
                  <a:gd name="connsiteX119" fmla="*/ 314798 w 1446213"/>
                  <a:gd name="connsiteY119" fmla="*/ 338069 h 1476375"/>
                  <a:gd name="connsiteX120" fmla="*/ 191306 w 1446213"/>
                  <a:gd name="connsiteY120" fmla="*/ 383002 h 1476375"/>
                  <a:gd name="connsiteX121" fmla="*/ 0 w 1446213"/>
                  <a:gd name="connsiteY121" fmla="*/ 191858 h 1476375"/>
                  <a:gd name="connsiteX122" fmla="*/ 191306 w 1446213"/>
                  <a:gd name="connsiteY122" fmla="*/ 0 h 1476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1446213" h="1476375">
                    <a:moveTo>
                      <a:pt x="1156494" y="1112837"/>
                    </a:moveTo>
                    <a:cubicBezTo>
                      <a:pt x="1225319" y="1112837"/>
                      <a:pt x="1281113" y="1168631"/>
                      <a:pt x="1281113" y="1237456"/>
                    </a:cubicBezTo>
                    <a:cubicBezTo>
                      <a:pt x="1281113" y="1306281"/>
                      <a:pt x="1225319" y="1362075"/>
                      <a:pt x="1156494" y="1362075"/>
                    </a:cubicBezTo>
                    <a:cubicBezTo>
                      <a:pt x="1087669" y="1362075"/>
                      <a:pt x="1031875" y="1306281"/>
                      <a:pt x="1031875" y="1237456"/>
                    </a:cubicBezTo>
                    <a:cubicBezTo>
                      <a:pt x="1031875" y="1168631"/>
                      <a:pt x="1087669" y="1112837"/>
                      <a:pt x="1156494" y="1112837"/>
                    </a:cubicBezTo>
                    <a:close/>
                    <a:moveTo>
                      <a:pt x="1156494" y="1079500"/>
                    </a:moveTo>
                    <a:cubicBezTo>
                      <a:pt x="1124476" y="1079500"/>
                      <a:pt x="1093880" y="1088792"/>
                      <a:pt x="1069689" y="1105231"/>
                    </a:cubicBezTo>
                    <a:cubicBezTo>
                      <a:pt x="1059728" y="1110948"/>
                      <a:pt x="1051901" y="1118811"/>
                      <a:pt x="1044074" y="1126673"/>
                    </a:cubicBezTo>
                    <a:cubicBezTo>
                      <a:pt x="1016325" y="1155262"/>
                      <a:pt x="998537" y="1194573"/>
                      <a:pt x="998537" y="1237457"/>
                    </a:cubicBezTo>
                    <a:cubicBezTo>
                      <a:pt x="998537" y="1324654"/>
                      <a:pt x="1068977" y="1395413"/>
                      <a:pt x="1156494" y="1395413"/>
                    </a:cubicBezTo>
                    <a:cubicBezTo>
                      <a:pt x="1244010" y="1395413"/>
                      <a:pt x="1314450" y="1324654"/>
                      <a:pt x="1314450" y="1237457"/>
                    </a:cubicBezTo>
                    <a:cubicBezTo>
                      <a:pt x="1314450" y="1150259"/>
                      <a:pt x="1244010" y="1079500"/>
                      <a:pt x="1156494" y="1079500"/>
                    </a:cubicBezTo>
                    <a:close/>
                    <a:moveTo>
                      <a:pt x="273844" y="1065212"/>
                    </a:moveTo>
                    <a:cubicBezTo>
                      <a:pt x="368972" y="1065212"/>
                      <a:pt x="446088" y="1142328"/>
                      <a:pt x="446088" y="1237456"/>
                    </a:cubicBezTo>
                    <a:cubicBezTo>
                      <a:pt x="446088" y="1332584"/>
                      <a:pt x="368972" y="1409700"/>
                      <a:pt x="273844" y="1409700"/>
                    </a:cubicBezTo>
                    <a:cubicBezTo>
                      <a:pt x="178716" y="1409700"/>
                      <a:pt x="101600" y="1332584"/>
                      <a:pt x="101600" y="1237456"/>
                    </a:cubicBezTo>
                    <a:cubicBezTo>
                      <a:pt x="101600" y="1142328"/>
                      <a:pt x="178716" y="1065212"/>
                      <a:pt x="273844" y="1065212"/>
                    </a:cubicBezTo>
                    <a:close/>
                    <a:moveTo>
                      <a:pt x="273844" y="1031875"/>
                    </a:moveTo>
                    <a:cubicBezTo>
                      <a:pt x="160346" y="1031875"/>
                      <a:pt x="68262" y="1123245"/>
                      <a:pt x="68262" y="1237457"/>
                    </a:cubicBezTo>
                    <a:cubicBezTo>
                      <a:pt x="68262" y="1350955"/>
                      <a:pt x="160346" y="1443038"/>
                      <a:pt x="273844" y="1443038"/>
                    </a:cubicBezTo>
                    <a:cubicBezTo>
                      <a:pt x="387342" y="1443038"/>
                      <a:pt x="479425" y="1350955"/>
                      <a:pt x="479425" y="1237457"/>
                    </a:cubicBezTo>
                    <a:cubicBezTo>
                      <a:pt x="479425" y="1187489"/>
                      <a:pt x="461580" y="1141804"/>
                      <a:pt x="431599" y="1106113"/>
                    </a:cubicBezTo>
                    <a:cubicBezTo>
                      <a:pt x="425175" y="1097547"/>
                      <a:pt x="416609" y="1090409"/>
                      <a:pt x="408043" y="1082557"/>
                    </a:cubicBezTo>
                    <a:cubicBezTo>
                      <a:pt x="372352" y="1050435"/>
                      <a:pt x="325239" y="1031875"/>
                      <a:pt x="273844" y="1031875"/>
                    </a:cubicBezTo>
                    <a:close/>
                    <a:moveTo>
                      <a:pt x="1300957" y="682625"/>
                    </a:moveTo>
                    <a:cubicBezTo>
                      <a:pt x="1344357" y="682625"/>
                      <a:pt x="1379539" y="717807"/>
                      <a:pt x="1379539" y="761207"/>
                    </a:cubicBezTo>
                    <a:cubicBezTo>
                      <a:pt x="1379539" y="804607"/>
                      <a:pt x="1344357" y="839789"/>
                      <a:pt x="1300957" y="839789"/>
                    </a:cubicBezTo>
                    <a:cubicBezTo>
                      <a:pt x="1257557" y="839789"/>
                      <a:pt x="1222375" y="804607"/>
                      <a:pt x="1222375" y="761207"/>
                    </a:cubicBezTo>
                    <a:cubicBezTo>
                      <a:pt x="1222375" y="717807"/>
                      <a:pt x="1257557" y="682625"/>
                      <a:pt x="1300957" y="682625"/>
                    </a:cubicBezTo>
                    <a:close/>
                    <a:moveTo>
                      <a:pt x="1301314" y="649287"/>
                    </a:moveTo>
                    <a:cubicBezTo>
                      <a:pt x="1244818" y="649287"/>
                      <a:pt x="1198334" y="690050"/>
                      <a:pt x="1189752" y="744400"/>
                    </a:cubicBezTo>
                    <a:cubicBezTo>
                      <a:pt x="1189037" y="750121"/>
                      <a:pt x="1189037" y="755843"/>
                      <a:pt x="1189037" y="760849"/>
                    </a:cubicBezTo>
                    <a:cubicBezTo>
                      <a:pt x="1189037" y="766570"/>
                      <a:pt x="1189037" y="772291"/>
                      <a:pt x="1189752" y="778012"/>
                    </a:cubicBezTo>
                    <a:cubicBezTo>
                      <a:pt x="1198334" y="832362"/>
                      <a:pt x="1244818" y="873125"/>
                      <a:pt x="1301314" y="873125"/>
                    </a:cubicBezTo>
                    <a:cubicBezTo>
                      <a:pt x="1362816" y="873125"/>
                      <a:pt x="1412875" y="823066"/>
                      <a:pt x="1412875" y="760849"/>
                    </a:cubicBezTo>
                    <a:cubicBezTo>
                      <a:pt x="1412875" y="699347"/>
                      <a:pt x="1362816" y="649287"/>
                      <a:pt x="1301314" y="649287"/>
                    </a:cubicBezTo>
                    <a:close/>
                    <a:moveTo>
                      <a:pt x="762794" y="560387"/>
                    </a:moveTo>
                    <a:cubicBezTo>
                      <a:pt x="873703" y="560387"/>
                      <a:pt x="963613" y="649941"/>
                      <a:pt x="963613" y="760412"/>
                    </a:cubicBezTo>
                    <a:cubicBezTo>
                      <a:pt x="963613" y="870883"/>
                      <a:pt x="873703" y="960437"/>
                      <a:pt x="762794" y="960437"/>
                    </a:cubicBezTo>
                    <a:cubicBezTo>
                      <a:pt x="651885" y="960437"/>
                      <a:pt x="561975" y="870883"/>
                      <a:pt x="561975" y="760412"/>
                    </a:cubicBezTo>
                    <a:cubicBezTo>
                      <a:pt x="561975" y="649941"/>
                      <a:pt x="651885" y="560387"/>
                      <a:pt x="762794" y="560387"/>
                    </a:cubicBezTo>
                    <a:close/>
                    <a:moveTo>
                      <a:pt x="763508" y="528637"/>
                    </a:moveTo>
                    <a:cubicBezTo>
                      <a:pt x="704255" y="528637"/>
                      <a:pt x="650713" y="549294"/>
                      <a:pt x="610021" y="584910"/>
                    </a:cubicBezTo>
                    <a:cubicBezTo>
                      <a:pt x="600740" y="592745"/>
                      <a:pt x="593601" y="600580"/>
                      <a:pt x="585749" y="608416"/>
                    </a:cubicBezTo>
                    <a:cubicBezTo>
                      <a:pt x="550768" y="649730"/>
                      <a:pt x="528637" y="702441"/>
                      <a:pt x="528637" y="760850"/>
                    </a:cubicBezTo>
                    <a:cubicBezTo>
                      <a:pt x="528637" y="817835"/>
                      <a:pt x="550054" y="870546"/>
                      <a:pt x="584321" y="911147"/>
                    </a:cubicBezTo>
                    <a:cubicBezTo>
                      <a:pt x="590746" y="919695"/>
                      <a:pt x="598599" y="928243"/>
                      <a:pt x="607165" y="934653"/>
                    </a:cubicBezTo>
                    <a:cubicBezTo>
                      <a:pt x="649285" y="972406"/>
                      <a:pt x="702827" y="993775"/>
                      <a:pt x="763508" y="993775"/>
                    </a:cubicBezTo>
                    <a:cubicBezTo>
                      <a:pt x="813480" y="993775"/>
                      <a:pt x="859883" y="978104"/>
                      <a:pt x="897719" y="951037"/>
                    </a:cubicBezTo>
                    <a:cubicBezTo>
                      <a:pt x="907000" y="944626"/>
                      <a:pt x="916280" y="937503"/>
                      <a:pt x="924133" y="929667"/>
                    </a:cubicBezTo>
                    <a:cubicBezTo>
                      <a:pt x="964825" y="891203"/>
                      <a:pt x="991953" y="837779"/>
                      <a:pt x="996236" y="777945"/>
                    </a:cubicBezTo>
                    <a:cubicBezTo>
                      <a:pt x="996236" y="772247"/>
                      <a:pt x="996950" y="766548"/>
                      <a:pt x="996950" y="760850"/>
                    </a:cubicBezTo>
                    <a:cubicBezTo>
                      <a:pt x="996950" y="755864"/>
                      <a:pt x="996236" y="750165"/>
                      <a:pt x="996236" y="744467"/>
                    </a:cubicBezTo>
                    <a:cubicBezTo>
                      <a:pt x="989811" y="662551"/>
                      <a:pt x="941267" y="592033"/>
                      <a:pt x="872019" y="554993"/>
                    </a:cubicBezTo>
                    <a:cubicBezTo>
                      <a:pt x="862025" y="550006"/>
                      <a:pt x="852030" y="545733"/>
                      <a:pt x="841322" y="542171"/>
                    </a:cubicBezTo>
                    <a:cubicBezTo>
                      <a:pt x="816336" y="532911"/>
                      <a:pt x="790636" y="528637"/>
                      <a:pt x="763508" y="528637"/>
                    </a:cubicBezTo>
                    <a:close/>
                    <a:moveTo>
                      <a:pt x="1032669" y="100012"/>
                    </a:moveTo>
                    <a:cubicBezTo>
                      <a:pt x="1061164" y="100012"/>
                      <a:pt x="1084263" y="122756"/>
                      <a:pt x="1084263" y="150812"/>
                    </a:cubicBezTo>
                    <a:cubicBezTo>
                      <a:pt x="1084263" y="178868"/>
                      <a:pt x="1061164" y="201612"/>
                      <a:pt x="1032669" y="201612"/>
                    </a:cubicBezTo>
                    <a:cubicBezTo>
                      <a:pt x="1004174" y="201612"/>
                      <a:pt x="981075" y="178868"/>
                      <a:pt x="981075" y="150812"/>
                    </a:cubicBezTo>
                    <a:cubicBezTo>
                      <a:pt x="981075" y="122756"/>
                      <a:pt x="1004174" y="100012"/>
                      <a:pt x="1032669" y="100012"/>
                    </a:cubicBezTo>
                    <a:close/>
                    <a:moveTo>
                      <a:pt x="1031875" y="66675"/>
                    </a:moveTo>
                    <a:cubicBezTo>
                      <a:pt x="984815" y="66675"/>
                      <a:pt x="947737" y="104466"/>
                      <a:pt x="947737" y="150813"/>
                    </a:cubicBezTo>
                    <a:cubicBezTo>
                      <a:pt x="947737" y="179334"/>
                      <a:pt x="961285" y="204290"/>
                      <a:pt x="983389" y="219263"/>
                    </a:cubicBezTo>
                    <a:cubicBezTo>
                      <a:pt x="992658" y="226394"/>
                      <a:pt x="1001928" y="230672"/>
                      <a:pt x="1013336" y="232811"/>
                    </a:cubicBezTo>
                    <a:cubicBezTo>
                      <a:pt x="1019753" y="234237"/>
                      <a:pt x="1026171" y="234950"/>
                      <a:pt x="1031875" y="234950"/>
                    </a:cubicBezTo>
                    <a:cubicBezTo>
                      <a:pt x="1078222" y="234950"/>
                      <a:pt x="1116012" y="197160"/>
                      <a:pt x="1116012" y="150813"/>
                    </a:cubicBezTo>
                    <a:cubicBezTo>
                      <a:pt x="1116012" y="104466"/>
                      <a:pt x="1078222" y="66675"/>
                      <a:pt x="1031875" y="66675"/>
                    </a:cubicBezTo>
                    <a:close/>
                    <a:moveTo>
                      <a:pt x="192881" y="66675"/>
                    </a:moveTo>
                    <a:cubicBezTo>
                      <a:pt x="261706" y="66675"/>
                      <a:pt x="317500" y="122469"/>
                      <a:pt x="317500" y="191294"/>
                    </a:cubicBezTo>
                    <a:cubicBezTo>
                      <a:pt x="317500" y="260119"/>
                      <a:pt x="261706" y="315913"/>
                      <a:pt x="192881" y="315913"/>
                    </a:cubicBezTo>
                    <a:cubicBezTo>
                      <a:pt x="124056" y="315913"/>
                      <a:pt x="68262" y="260119"/>
                      <a:pt x="68262" y="191294"/>
                    </a:cubicBezTo>
                    <a:cubicBezTo>
                      <a:pt x="68262" y="122469"/>
                      <a:pt x="124056" y="66675"/>
                      <a:pt x="192881" y="66675"/>
                    </a:cubicBezTo>
                    <a:close/>
                    <a:moveTo>
                      <a:pt x="190937" y="33337"/>
                    </a:moveTo>
                    <a:cubicBezTo>
                      <a:pt x="104649" y="33337"/>
                      <a:pt x="33337" y="103936"/>
                      <a:pt x="33337" y="191650"/>
                    </a:cubicBezTo>
                    <a:cubicBezTo>
                      <a:pt x="33337" y="278651"/>
                      <a:pt x="104649" y="349250"/>
                      <a:pt x="190937" y="349250"/>
                    </a:cubicBezTo>
                    <a:cubicBezTo>
                      <a:pt x="229446" y="349250"/>
                      <a:pt x="263676" y="335701"/>
                      <a:pt x="290774" y="313594"/>
                    </a:cubicBezTo>
                    <a:cubicBezTo>
                      <a:pt x="299332" y="307176"/>
                      <a:pt x="307889" y="299332"/>
                      <a:pt x="314307" y="290061"/>
                    </a:cubicBezTo>
                    <a:cubicBezTo>
                      <a:pt x="336414" y="263676"/>
                      <a:pt x="349250" y="228733"/>
                      <a:pt x="349250" y="191650"/>
                    </a:cubicBezTo>
                    <a:cubicBezTo>
                      <a:pt x="349250" y="103936"/>
                      <a:pt x="278651" y="33337"/>
                      <a:pt x="190937" y="33337"/>
                    </a:cubicBezTo>
                    <a:close/>
                    <a:moveTo>
                      <a:pt x="191306" y="0"/>
                    </a:moveTo>
                    <a:cubicBezTo>
                      <a:pt x="297666" y="0"/>
                      <a:pt x="383325" y="86300"/>
                      <a:pt x="383325" y="191858"/>
                    </a:cubicBezTo>
                    <a:cubicBezTo>
                      <a:pt x="383325" y="238217"/>
                      <a:pt x="366907" y="281011"/>
                      <a:pt x="338354" y="313819"/>
                    </a:cubicBezTo>
                    <a:cubicBezTo>
                      <a:pt x="338354" y="313819"/>
                      <a:pt x="338354" y="313819"/>
                      <a:pt x="586052" y="561308"/>
                    </a:cubicBezTo>
                    <a:cubicBezTo>
                      <a:pt x="633165" y="519941"/>
                      <a:pt x="695981" y="494978"/>
                      <a:pt x="763795" y="494978"/>
                    </a:cubicBezTo>
                    <a:cubicBezTo>
                      <a:pt x="795203" y="494978"/>
                      <a:pt x="826612" y="500684"/>
                      <a:pt x="855165" y="510669"/>
                    </a:cubicBezTo>
                    <a:cubicBezTo>
                      <a:pt x="855165" y="510669"/>
                      <a:pt x="855165" y="510669"/>
                      <a:pt x="970091" y="251055"/>
                    </a:cubicBezTo>
                    <a:cubicBezTo>
                      <a:pt x="936541" y="230372"/>
                      <a:pt x="914412" y="193284"/>
                      <a:pt x="914412" y="151204"/>
                    </a:cubicBezTo>
                    <a:cubicBezTo>
                      <a:pt x="914412" y="86300"/>
                      <a:pt x="966522" y="33522"/>
                      <a:pt x="1032194" y="33522"/>
                    </a:cubicBezTo>
                    <a:cubicBezTo>
                      <a:pt x="1097152" y="33522"/>
                      <a:pt x="1149975" y="86300"/>
                      <a:pt x="1149975" y="151204"/>
                    </a:cubicBezTo>
                    <a:cubicBezTo>
                      <a:pt x="1149975" y="216107"/>
                      <a:pt x="1097152" y="268886"/>
                      <a:pt x="1032194" y="268886"/>
                    </a:cubicBezTo>
                    <a:cubicBezTo>
                      <a:pt x="1020772" y="268886"/>
                      <a:pt x="1010065" y="267459"/>
                      <a:pt x="1000071" y="264606"/>
                    </a:cubicBezTo>
                    <a:cubicBezTo>
                      <a:pt x="1000071" y="264606"/>
                      <a:pt x="1000071" y="264606"/>
                      <a:pt x="885859" y="524220"/>
                    </a:cubicBezTo>
                    <a:cubicBezTo>
                      <a:pt x="966522" y="566301"/>
                      <a:pt x="1023628" y="649035"/>
                      <a:pt x="1030052" y="744607"/>
                    </a:cubicBezTo>
                    <a:cubicBezTo>
                      <a:pt x="1030052" y="744607"/>
                      <a:pt x="1030052" y="744607"/>
                      <a:pt x="1156400" y="744607"/>
                    </a:cubicBezTo>
                    <a:cubicBezTo>
                      <a:pt x="1164965" y="672571"/>
                      <a:pt x="1226355" y="616226"/>
                      <a:pt x="1301306" y="616226"/>
                    </a:cubicBezTo>
                    <a:cubicBezTo>
                      <a:pt x="1381255" y="616226"/>
                      <a:pt x="1446213" y="681843"/>
                      <a:pt x="1446213" y="761011"/>
                    </a:cubicBezTo>
                    <a:cubicBezTo>
                      <a:pt x="1446213" y="840892"/>
                      <a:pt x="1381255" y="906509"/>
                      <a:pt x="1301306" y="906509"/>
                    </a:cubicBezTo>
                    <a:cubicBezTo>
                      <a:pt x="1226355" y="906509"/>
                      <a:pt x="1164965" y="850164"/>
                      <a:pt x="1156400" y="778128"/>
                    </a:cubicBezTo>
                    <a:cubicBezTo>
                      <a:pt x="1156400" y="778128"/>
                      <a:pt x="1156400" y="778128"/>
                      <a:pt x="1030052" y="778128"/>
                    </a:cubicBezTo>
                    <a:cubicBezTo>
                      <a:pt x="1025055" y="848024"/>
                      <a:pt x="994361" y="910788"/>
                      <a:pt x="945107" y="955721"/>
                    </a:cubicBezTo>
                    <a:cubicBezTo>
                      <a:pt x="945107" y="955721"/>
                      <a:pt x="945107" y="955721"/>
                      <a:pt x="1047898" y="1079822"/>
                    </a:cubicBezTo>
                    <a:cubicBezTo>
                      <a:pt x="1078592" y="1058426"/>
                      <a:pt x="1115711" y="1046301"/>
                      <a:pt x="1156400" y="1046301"/>
                    </a:cubicBezTo>
                    <a:cubicBezTo>
                      <a:pt x="1262046" y="1046301"/>
                      <a:pt x="1348419" y="1131888"/>
                      <a:pt x="1348419" y="1237445"/>
                    </a:cubicBezTo>
                    <a:cubicBezTo>
                      <a:pt x="1348419" y="1342289"/>
                      <a:pt x="1262046" y="1428589"/>
                      <a:pt x="1156400" y="1428589"/>
                    </a:cubicBezTo>
                    <a:cubicBezTo>
                      <a:pt x="1050753" y="1428589"/>
                      <a:pt x="964380" y="1342289"/>
                      <a:pt x="964380" y="1237445"/>
                    </a:cubicBezTo>
                    <a:cubicBezTo>
                      <a:pt x="964380" y="1183953"/>
                      <a:pt x="986509" y="1136167"/>
                      <a:pt x="1022200" y="1101219"/>
                    </a:cubicBezTo>
                    <a:cubicBezTo>
                      <a:pt x="1022200" y="1101219"/>
                      <a:pt x="1022200" y="1101219"/>
                      <a:pt x="919409" y="977118"/>
                    </a:cubicBezTo>
                    <a:cubicBezTo>
                      <a:pt x="875866" y="1009213"/>
                      <a:pt x="821615" y="1027757"/>
                      <a:pt x="763795" y="1027757"/>
                    </a:cubicBezTo>
                    <a:cubicBezTo>
                      <a:pt x="693840" y="1027757"/>
                      <a:pt x="631023" y="1002081"/>
                      <a:pt x="583911" y="958574"/>
                    </a:cubicBezTo>
                    <a:cubicBezTo>
                      <a:pt x="583911" y="958574"/>
                      <a:pt x="583911" y="958574"/>
                      <a:pt x="456136" y="1083388"/>
                    </a:cubicBezTo>
                    <a:cubicBezTo>
                      <a:pt x="491113" y="1125469"/>
                      <a:pt x="512528" y="1178247"/>
                      <a:pt x="512528" y="1237445"/>
                    </a:cubicBezTo>
                    <a:cubicBezTo>
                      <a:pt x="512528" y="1368678"/>
                      <a:pt x="404740" y="1476375"/>
                      <a:pt x="273396" y="1476375"/>
                    </a:cubicBezTo>
                    <a:cubicBezTo>
                      <a:pt x="141338" y="1476375"/>
                      <a:pt x="34264" y="1368678"/>
                      <a:pt x="34264" y="1237445"/>
                    </a:cubicBezTo>
                    <a:cubicBezTo>
                      <a:pt x="34264" y="1105498"/>
                      <a:pt x="141338" y="998515"/>
                      <a:pt x="273396" y="998515"/>
                    </a:cubicBezTo>
                    <a:cubicBezTo>
                      <a:pt x="334071" y="998515"/>
                      <a:pt x="389750" y="1022051"/>
                      <a:pt x="432579" y="1059139"/>
                    </a:cubicBezTo>
                    <a:cubicBezTo>
                      <a:pt x="432579" y="1059139"/>
                      <a:pt x="432579" y="1059139"/>
                      <a:pt x="560354" y="934324"/>
                    </a:cubicBezTo>
                    <a:cubicBezTo>
                      <a:pt x="519666" y="887965"/>
                      <a:pt x="495396" y="827341"/>
                      <a:pt x="495396" y="761011"/>
                    </a:cubicBezTo>
                    <a:cubicBezTo>
                      <a:pt x="495396" y="693968"/>
                      <a:pt x="521094" y="631917"/>
                      <a:pt x="562496" y="584844"/>
                    </a:cubicBezTo>
                    <a:cubicBezTo>
                      <a:pt x="562496" y="584844"/>
                      <a:pt x="562496" y="584844"/>
                      <a:pt x="314798" y="338069"/>
                    </a:cubicBezTo>
                    <a:cubicBezTo>
                      <a:pt x="281248" y="365884"/>
                      <a:pt x="239132" y="383002"/>
                      <a:pt x="191306" y="383002"/>
                    </a:cubicBezTo>
                    <a:cubicBezTo>
                      <a:pt x="85659" y="383002"/>
                      <a:pt x="0" y="297415"/>
                      <a:pt x="0" y="191858"/>
                    </a:cubicBezTo>
                    <a:cubicBezTo>
                      <a:pt x="0" y="86300"/>
                      <a:pt x="85659" y="0"/>
                      <a:pt x="19130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86868" tIns="43434" rIns="86868" bIns="4343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/>
                </a:endParaRPr>
              </a:p>
            </p:txBody>
          </p:sp>
        </p:grpSp>
      </p:grpSp>
      <p:pic>
        <p:nvPicPr>
          <p:cNvPr id="50" name="Imagen 49" descr="Globo terráqueo flotante blanco">
            <a:extLst>
              <a:ext uri="{FF2B5EF4-FFF2-40B4-BE49-F238E27FC236}">
                <a16:creationId xmlns:a16="http://schemas.microsoft.com/office/drawing/2014/main" id="{854F5621-DEB5-A490-04BB-97EC83F0FA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93805" y="4232521"/>
            <a:ext cx="2502517" cy="1769280"/>
          </a:xfrm>
          <a:prstGeom prst="rect">
            <a:avLst/>
          </a:prstGeom>
        </p:spPr>
      </p:pic>
      <p:sp>
        <p:nvSpPr>
          <p:cNvPr id="2" name="AutoShape 3">
            <a:extLst>
              <a:ext uri="{FF2B5EF4-FFF2-40B4-BE49-F238E27FC236}">
                <a16:creationId xmlns:a16="http://schemas.microsoft.com/office/drawing/2014/main" id="{53281D8F-4B51-38AC-4297-1B7D51DBB27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2236242" y="922095"/>
            <a:ext cx="517728" cy="517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6868" tIns="43434" rIns="86868" bIns="43434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5" descr="qinetiq">
            <a:hlinkClick r:id="rId4"/>
            <a:extLst>
              <a:ext uri="{FF2B5EF4-FFF2-40B4-BE49-F238E27FC236}">
                <a16:creationId xmlns:a16="http://schemas.microsoft.com/office/drawing/2014/main" id="{8F0E12A6-2A64-B1F6-818A-972FA3004C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6055" y="2479871"/>
            <a:ext cx="836759" cy="310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 descr="Babcock%2520logo%2520blue%2520gif">
            <a:hlinkClick r:id="rId6"/>
            <a:extLst>
              <a:ext uri="{FF2B5EF4-FFF2-40B4-BE49-F238E27FC236}">
                <a16:creationId xmlns:a16="http://schemas.microsoft.com/office/drawing/2014/main" id="{88CDC27B-1CE7-F509-1F48-80AE0054CC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2912" y="2442006"/>
            <a:ext cx="331328" cy="385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 descr="logo">
            <a:hlinkClick r:id="rId8"/>
            <a:extLst>
              <a:ext uri="{FF2B5EF4-FFF2-40B4-BE49-F238E27FC236}">
                <a16:creationId xmlns:a16="http://schemas.microsoft.com/office/drawing/2014/main" id="{9F78DB0D-6756-46CC-F747-ABC05FABA6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052" y="2468114"/>
            <a:ext cx="469382" cy="333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 descr="CRMDEU47704710DE">
            <a:hlinkClick r:id="rId10"/>
            <a:extLst>
              <a:ext uri="{FF2B5EF4-FFF2-40B4-BE49-F238E27FC236}">
                <a16:creationId xmlns:a16="http://schemas.microsoft.com/office/drawing/2014/main" id="{9E406DD3-1F15-EA46-A46D-765A78FE48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2298" y="3130188"/>
            <a:ext cx="774872" cy="206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6" descr="Ver imagen en tamaño completo">
            <a:hlinkClick r:id="rId12"/>
            <a:extLst>
              <a:ext uri="{FF2B5EF4-FFF2-40B4-BE49-F238E27FC236}">
                <a16:creationId xmlns:a16="http://schemas.microsoft.com/office/drawing/2014/main" id="{068A1C48-E9F3-90AF-A03E-83CC4F625E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8772" y="3131175"/>
            <a:ext cx="509581" cy="204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>
            <a:extLst>
              <a:ext uri="{FF2B5EF4-FFF2-40B4-BE49-F238E27FC236}">
                <a16:creationId xmlns:a16="http://schemas.microsoft.com/office/drawing/2014/main" id="{8C33C932-47C8-E743-44D1-0416C0B18C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6502" y="1003289"/>
            <a:ext cx="625843" cy="354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3" descr="lockheed-martin">
            <a:hlinkClick r:id="rId15"/>
            <a:extLst>
              <a:ext uri="{FF2B5EF4-FFF2-40B4-BE49-F238E27FC236}">
                <a16:creationId xmlns:a16="http://schemas.microsoft.com/office/drawing/2014/main" id="{CF71864E-771F-5C33-BAB2-B25C6CF8BE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8492" y="1943877"/>
            <a:ext cx="1088790" cy="201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4" descr="Abengoa">
            <a:hlinkClick r:id="rId17"/>
            <a:extLst>
              <a:ext uri="{FF2B5EF4-FFF2-40B4-BE49-F238E27FC236}">
                <a16:creationId xmlns:a16="http://schemas.microsoft.com/office/drawing/2014/main" id="{B6DCE1E2-863E-B18B-1569-6102A2E954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6584" y="1093131"/>
            <a:ext cx="955832" cy="175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1" descr="MacTaggart Scott Company Logo &amp; Moto">
            <a:extLst>
              <a:ext uri="{FF2B5EF4-FFF2-40B4-BE49-F238E27FC236}">
                <a16:creationId xmlns:a16="http://schemas.microsoft.com/office/drawing/2014/main" id="{1CAB6024-DE04-3E19-B048-0A428A7992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041" y="2441474"/>
            <a:ext cx="358938" cy="386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9" descr="espana">
            <a:hlinkClick r:id="rId20"/>
            <a:extLst>
              <a:ext uri="{FF2B5EF4-FFF2-40B4-BE49-F238E27FC236}">
                <a16:creationId xmlns:a16="http://schemas.microsoft.com/office/drawing/2014/main" id="{1738A3F1-EADC-671E-1D1F-82089A11A9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702" y="1173467"/>
            <a:ext cx="793063" cy="491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3" name="Picture 40" descr="uk-flag">
            <a:hlinkClick r:id="rId22"/>
            <a:extLst>
              <a:ext uri="{FF2B5EF4-FFF2-40B4-BE49-F238E27FC236}">
                <a16:creationId xmlns:a16="http://schemas.microsoft.com/office/drawing/2014/main" id="{9ED2FCB4-3BC3-C5DB-D482-7158985E58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702" y="2419366"/>
            <a:ext cx="793064" cy="402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4" name="Picture 41" descr="bandera_alemania_spanishvoiceover">
            <a:hlinkClick r:id="rId24"/>
            <a:extLst>
              <a:ext uri="{FF2B5EF4-FFF2-40B4-BE49-F238E27FC236}">
                <a16:creationId xmlns:a16="http://schemas.microsoft.com/office/drawing/2014/main" id="{2BC55A75-D783-7342-A9F9-4AA2E9CFDA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702" y="2979046"/>
            <a:ext cx="793063" cy="491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42" descr="usa">
            <a:hlinkClick r:id="rId26"/>
            <a:extLst>
              <a:ext uri="{FF2B5EF4-FFF2-40B4-BE49-F238E27FC236}">
                <a16:creationId xmlns:a16="http://schemas.microsoft.com/office/drawing/2014/main" id="{E8768ADD-5CCF-EEB1-ED4B-89F83DCD30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702" y="1794475"/>
            <a:ext cx="793063" cy="48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43" descr="20060521-italia%2520bandera">
            <a:hlinkClick r:id="rId28"/>
            <a:extLst>
              <a:ext uri="{FF2B5EF4-FFF2-40B4-BE49-F238E27FC236}">
                <a16:creationId xmlns:a16="http://schemas.microsoft.com/office/drawing/2014/main" id="{EB20BCB6-C871-7562-1DE4-7F1A185406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702" y="3620854"/>
            <a:ext cx="793063" cy="491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45" descr="francia_bandera">
            <a:hlinkClick r:id="rId30"/>
            <a:extLst>
              <a:ext uri="{FF2B5EF4-FFF2-40B4-BE49-F238E27FC236}">
                <a16:creationId xmlns:a16="http://schemas.microsoft.com/office/drawing/2014/main" id="{7E9739CD-BAB9-F236-5C03-E7DDE9AD38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702" y="4892963"/>
            <a:ext cx="793063" cy="483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46" descr="holanda">
            <a:hlinkClick r:id="rId32"/>
            <a:extLst>
              <a:ext uri="{FF2B5EF4-FFF2-40B4-BE49-F238E27FC236}">
                <a16:creationId xmlns:a16="http://schemas.microsoft.com/office/drawing/2014/main" id="{9FE14D7E-C356-57C9-DBDD-C9B83EE4BC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701" y="4255017"/>
            <a:ext cx="793063" cy="491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Line 51">
            <a:extLst>
              <a:ext uri="{FF2B5EF4-FFF2-40B4-BE49-F238E27FC236}">
                <a16:creationId xmlns:a16="http://schemas.microsoft.com/office/drawing/2014/main" id="{47088645-6B4A-C97A-2FE0-07A6D7AD4E3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267297" y="1078333"/>
            <a:ext cx="3042" cy="4976233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844083" eaLnBrk="0" hangingPunct="0">
              <a:defRPr/>
            </a:pPr>
            <a:endParaRPr lang="es-ES" sz="1662" dirty="0">
              <a:solidFill>
                <a:srgbClr val="00000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885A1124-0115-5EF3-912C-38965C6B3A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864" y="1024209"/>
            <a:ext cx="761598" cy="3130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4" descr="http://www.iho.int/mtg_docs/conf/18IHC2012/conference%20exhibition/L3ELAC%20Nautik.jpg">
            <a:extLst>
              <a:ext uri="{FF2B5EF4-FFF2-40B4-BE49-F238E27FC236}">
                <a16:creationId xmlns:a16="http://schemas.microsoft.com/office/drawing/2014/main" id="{535402D8-D49D-EA4F-70D9-6D46CBB88F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1082" y="3072768"/>
            <a:ext cx="320219" cy="321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6" descr="http://t2.gstatic.com/images?q=tbn:ANd9GcQwrH9PSJsV-Q_qIepOiArdflHh6NcYkISFz9B-io_DAA3zFomc">
            <a:extLst>
              <a:ext uri="{FF2B5EF4-FFF2-40B4-BE49-F238E27FC236}">
                <a16:creationId xmlns:a16="http://schemas.microsoft.com/office/drawing/2014/main" id="{8DB3A1C5-BB31-1639-07C1-C47FDA1A78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6210" y="3126246"/>
            <a:ext cx="752725" cy="214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8" descr="http://t1.gstatic.com/images?q=tbn:ANd9GcS5LMT9pUt0AHZGXTNLtUyVCpUY5T7Il5CtG0wmeWCJdsZTybUm3w">
            <a:extLst>
              <a:ext uri="{FF2B5EF4-FFF2-40B4-BE49-F238E27FC236}">
                <a16:creationId xmlns:a16="http://schemas.microsoft.com/office/drawing/2014/main" id="{189818D3-5B6D-85BC-1D95-4022783692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8625" y="1887919"/>
            <a:ext cx="615830" cy="313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0" descr="http://t2.gstatic.com/images?q=tbn:ANd9GcQSHWqNcM8UJIaYyVqAjNKxk9tROdekok3Xcn97_hrAULz0nwQxsA">
            <a:extLst>
              <a:ext uri="{FF2B5EF4-FFF2-40B4-BE49-F238E27FC236}">
                <a16:creationId xmlns:a16="http://schemas.microsoft.com/office/drawing/2014/main" id="{35C91199-CEC4-BAD7-8A78-76D82039F8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193844" y="3016115"/>
            <a:ext cx="1267396" cy="148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135 Imagen">
            <a:extLst>
              <a:ext uri="{FF2B5EF4-FFF2-40B4-BE49-F238E27FC236}">
                <a16:creationId xmlns:a16="http://schemas.microsoft.com/office/drawing/2014/main" id="{F84E1D9E-238D-B05B-4250-FDD1554567F1}"/>
              </a:ext>
            </a:extLst>
          </p:cNvPr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4732" y="2479342"/>
            <a:ext cx="601797" cy="311074"/>
          </a:xfrm>
          <a:prstGeom prst="rect">
            <a:avLst/>
          </a:prstGeom>
        </p:spPr>
      </p:pic>
      <p:pic>
        <p:nvPicPr>
          <p:cNvPr id="26" name="Picture 17">
            <a:extLst>
              <a:ext uri="{FF2B5EF4-FFF2-40B4-BE49-F238E27FC236}">
                <a16:creationId xmlns:a16="http://schemas.microsoft.com/office/drawing/2014/main" id="{D8C37967-C536-B7F0-97E3-29207DFD56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0343" y="1776282"/>
            <a:ext cx="671341" cy="537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21">
            <a:extLst>
              <a:ext uri="{FF2B5EF4-FFF2-40B4-BE49-F238E27FC236}">
                <a16:creationId xmlns:a16="http://schemas.microsoft.com/office/drawing/2014/main" id="{6E190CFE-01F6-8CFE-034B-B58DDCC122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4846" y="2494326"/>
            <a:ext cx="983869" cy="28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2">
            <a:extLst>
              <a:ext uri="{FF2B5EF4-FFF2-40B4-BE49-F238E27FC236}">
                <a16:creationId xmlns:a16="http://schemas.microsoft.com/office/drawing/2014/main" id="{2E2763D7-777D-963B-31B3-CDD149B3B8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1704" y="4377700"/>
            <a:ext cx="1081575" cy="336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3">
            <a:extLst>
              <a:ext uri="{FF2B5EF4-FFF2-40B4-BE49-F238E27FC236}">
                <a16:creationId xmlns:a16="http://schemas.microsoft.com/office/drawing/2014/main" id="{63B6A68A-F973-A236-7B3F-4860DC574D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2872" y="4377700"/>
            <a:ext cx="1164842" cy="325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2">
            <a:extLst>
              <a:ext uri="{FF2B5EF4-FFF2-40B4-BE49-F238E27FC236}">
                <a16:creationId xmlns:a16="http://schemas.microsoft.com/office/drawing/2014/main" id="{2AC75A05-0785-BEC4-2E0A-86C3510936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2341" y="2419669"/>
            <a:ext cx="768607" cy="430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46" descr="Pompe Garbarino">
            <a:extLst>
              <a:ext uri="{FF2B5EF4-FFF2-40B4-BE49-F238E27FC236}">
                <a16:creationId xmlns:a16="http://schemas.microsoft.com/office/drawing/2014/main" id="{4BEEA956-74AA-2490-CBEB-D9C2E4ECFD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352" y="3724114"/>
            <a:ext cx="1223567" cy="343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5" descr="DETEGASA">
            <a:extLst>
              <a:ext uri="{FF2B5EF4-FFF2-40B4-BE49-F238E27FC236}">
                <a16:creationId xmlns:a16="http://schemas.microsoft.com/office/drawing/2014/main" id="{044FEB14-B883-5E73-C747-4A35DC61E9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9006" y="1456146"/>
            <a:ext cx="870522" cy="224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">
            <a:extLst>
              <a:ext uri="{FF2B5EF4-FFF2-40B4-BE49-F238E27FC236}">
                <a16:creationId xmlns:a16="http://schemas.microsoft.com/office/drawing/2014/main" id="{38A2D802-7287-55EF-75C7-FE77146DBD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1517" y="1436678"/>
            <a:ext cx="1176625" cy="26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42" descr="Resultado de imagen de howden solyvent">
            <a:hlinkClick r:id="rId48"/>
            <a:extLst>
              <a:ext uri="{FF2B5EF4-FFF2-40B4-BE49-F238E27FC236}">
                <a16:creationId xmlns:a16="http://schemas.microsoft.com/office/drawing/2014/main" id="{E7433118-D9C7-6702-772F-8F8FF11778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3167" y="3036676"/>
            <a:ext cx="786366" cy="393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 descr="GABADI">
            <a:extLst>
              <a:ext uri="{FF2B5EF4-FFF2-40B4-BE49-F238E27FC236}">
                <a16:creationId xmlns:a16="http://schemas.microsoft.com/office/drawing/2014/main" id="{AE41180E-872D-2D19-C859-1E6CF9C83C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7208" y="1405334"/>
            <a:ext cx="977853" cy="325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4">
            <a:extLst>
              <a:ext uri="{FF2B5EF4-FFF2-40B4-BE49-F238E27FC236}">
                <a16:creationId xmlns:a16="http://schemas.microsoft.com/office/drawing/2014/main" id="{13082FD6-4895-4674-8B70-0B2D33403B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4263" y="1847275"/>
            <a:ext cx="1059990" cy="395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Immagine 1" descr="cid:image001.jpg@01CEDBAA.E212CFD0">
            <a:extLst>
              <a:ext uri="{FF2B5EF4-FFF2-40B4-BE49-F238E27FC236}">
                <a16:creationId xmlns:a16="http://schemas.microsoft.com/office/drawing/2014/main" id="{CB27AA14-A34A-3A02-55C3-6F173AAC22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2891" y="3796848"/>
            <a:ext cx="970923" cy="198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Imagen 1">
            <a:extLst>
              <a:ext uri="{FF2B5EF4-FFF2-40B4-BE49-F238E27FC236}">
                <a16:creationId xmlns:a16="http://schemas.microsoft.com/office/drawing/2014/main" id="{6EC8AFE5-57EA-ECA2-A36B-CBAEFC5D9FB5}"/>
              </a:ext>
            </a:extLst>
          </p:cNvPr>
          <p:cNvPicPr>
            <a:picLocks noChangeAspect="1"/>
          </p:cNvPicPr>
          <p:nvPr/>
        </p:nvPicPr>
        <p:blipFill>
          <a:blip r:embed="rId53"/>
          <a:stretch>
            <a:fillRect/>
          </a:stretch>
        </p:blipFill>
        <p:spPr>
          <a:xfrm>
            <a:off x="2648456" y="3675888"/>
            <a:ext cx="880299" cy="440150"/>
          </a:xfrm>
          <a:prstGeom prst="rect">
            <a:avLst/>
          </a:prstGeom>
        </p:spPr>
      </p:pic>
      <p:pic>
        <p:nvPicPr>
          <p:cNvPr id="80" name="Imagen 2">
            <a:extLst>
              <a:ext uri="{FF2B5EF4-FFF2-40B4-BE49-F238E27FC236}">
                <a16:creationId xmlns:a16="http://schemas.microsoft.com/office/drawing/2014/main" id="{418C62F1-BFF9-A7CE-70F1-EB3FA0FD4E10}"/>
              </a:ext>
            </a:extLst>
          </p:cNvPr>
          <p:cNvPicPr>
            <a:picLocks noChangeAspect="1"/>
          </p:cNvPicPr>
          <p:nvPr/>
        </p:nvPicPr>
        <p:blipFill>
          <a:blip r:embed="rId54"/>
          <a:stretch>
            <a:fillRect/>
          </a:stretch>
        </p:blipFill>
        <p:spPr>
          <a:xfrm>
            <a:off x="1465319" y="4915245"/>
            <a:ext cx="1346753" cy="397746"/>
          </a:xfrm>
          <a:prstGeom prst="rect">
            <a:avLst/>
          </a:prstGeom>
        </p:spPr>
      </p:pic>
      <p:pic>
        <p:nvPicPr>
          <p:cNvPr id="81" name="Imagen 3">
            <a:extLst>
              <a:ext uri="{FF2B5EF4-FFF2-40B4-BE49-F238E27FC236}">
                <a16:creationId xmlns:a16="http://schemas.microsoft.com/office/drawing/2014/main" id="{B8CFE091-D945-3400-F4E2-DD5AFF8ECE77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9805" y="966001"/>
            <a:ext cx="1161022" cy="429419"/>
          </a:xfrm>
          <a:prstGeom prst="rect">
            <a:avLst/>
          </a:prstGeom>
        </p:spPr>
      </p:pic>
      <p:pic>
        <p:nvPicPr>
          <p:cNvPr id="82" name="Imagen 4">
            <a:extLst>
              <a:ext uri="{FF2B5EF4-FFF2-40B4-BE49-F238E27FC236}">
                <a16:creationId xmlns:a16="http://schemas.microsoft.com/office/drawing/2014/main" id="{6758EFE8-8514-E384-40DD-A498F6B4E23A}"/>
              </a:ext>
            </a:extLst>
          </p:cNvPr>
          <p:cNvPicPr>
            <a:picLocks noChangeAspect="1"/>
          </p:cNvPicPr>
          <p:nvPr/>
        </p:nvPicPr>
        <p:blipFill>
          <a:blip r:embed="rId56"/>
          <a:stretch>
            <a:fillRect/>
          </a:stretch>
        </p:blipFill>
        <p:spPr>
          <a:xfrm>
            <a:off x="4953903" y="3760948"/>
            <a:ext cx="1026123" cy="270031"/>
          </a:xfrm>
          <a:prstGeom prst="rect">
            <a:avLst/>
          </a:prstGeom>
        </p:spPr>
      </p:pic>
      <p:pic>
        <p:nvPicPr>
          <p:cNvPr id="83" name="Imagen 5">
            <a:extLst>
              <a:ext uri="{FF2B5EF4-FFF2-40B4-BE49-F238E27FC236}">
                <a16:creationId xmlns:a16="http://schemas.microsoft.com/office/drawing/2014/main" id="{E8393B09-269F-63EE-FDFA-6D5A4B981AB2}"/>
              </a:ext>
            </a:extLst>
          </p:cNvPr>
          <p:cNvPicPr>
            <a:picLocks noChangeAspect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8554" y="3083152"/>
            <a:ext cx="1191794" cy="300768"/>
          </a:xfrm>
          <a:prstGeom prst="rect">
            <a:avLst/>
          </a:prstGeom>
        </p:spPr>
      </p:pic>
      <p:pic>
        <p:nvPicPr>
          <p:cNvPr id="84" name="Imagen 6">
            <a:extLst>
              <a:ext uri="{FF2B5EF4-FFF2-40B4-BE49-F238E27FC236}">
                <a16:creationId xmlns:a16="http://schemas.microsoft.com/office/drawing/2014/main" id="{7F0FCBCC-E338-F9A4-CFE0-0EC853BA98AB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6683" y="1015732"/>
            <a:ext cx="952514" cy="329956"/>
          </a:xfrm>
          <a:prstGeom prst="rect">
            <a:avLst/>
          </a:prstGeom>
        </p:spPr>
      </p:pic>
      <p:pic>
        <p:nvPicPr>
          <p:cNvPr id="85" name="Imagen 7">
            <a:extLst>
              <a:ext uri="{FF2B5EF4-FFF2-40B4-BE49-F238E27FC236}">
                <a16:creationId xmlns:a16="http://schemas.microsoft.com/office/drawing/2014/main" id="{98989584-585F-8AFA-FC3A-8B8820F036AD}"/>
              </a:ext>
            </a:extLst>
          </p:cNvPr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3815842" y="1864629"/>
            <a:ext cx="775876" cy="360379"/>
          </a:xfrm>
          <a:prstGeom prst="rect">
            <a:avLst/>
          </a:prstGeom>
        </p:spPr>
      </p:pic>
      <p:pic>
        <p:nvPicPr>
          <p:cNvPr id="86" name="Imagen 8">
            <a:extLst>
              <a:ext uri="{FF2B5EF4-FFF2-40B4-BE49-F238E27FC236}">
                <a16:creationId xmlns:a16="http://schemas.microsoft.com/office/drawing/2014/main" id="{8F03AA2A-EF7F-72FA-106B-4DF92E5E91F7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6702" y="1894486"/>
            <a:ext cx="1292324" cy="300664"/>
          </a:xfrm>
          <a:prstGeom prst="rect">
            <a:avLst/>
          </a:prstGeom>
        </p:spPr>
      </p:pic>
      <p:pic>
        <p:nvPicPr>
          <p:cNvPr id="87" name="Imagen 10">
            <a:extLst>
              <a:ext uri="{FF2B5EF4-FFF2-40B4-BE49-F238E27FC236}">
                <a16:creationId xmlns:a16="http://schemas.microsoft.com/office/drawing/2014/main" id="{A604C084-033D-6712-CA56-702090A7D02B}"/>
              </a:ext>
            </a:extLst>
          </p:cNvPr>
          <p:cNvPicPr>
            <a:picLocks noChangeAspect="1"/>
          </p:cNvPicPr>
          <p:nvPr/>
        </p:nvPicPr>
        <p:blipFill>
          <a:blip r:embed="rId61"/>
          <a:stretch>
            <a:fillRect/>
          </a:stretch>
        </p:blipFill>
        <p:spPr>
          <a:xfrm>
            <a:off x="2505441" y="2531082"/>
            <a:ext cx="1146282" cy="207594"/>
          </a:xfrm>
          <a:prstGeom prst="rect">
            <a:avLst/>
          </a:prstGeom>
        </p:spPr>
      </p:pic>
      <p:pic>
        <p:nvPicPr>
          <p:cNvPr id="88" name="Imagen 11">
            <a:extLst>
              <a:ext uri="{FF2B5EF4-FFF2-40B4-BE49-F238E27FC236}">
                <a16:creationId xmlns:a16="http://schemas.microsoft.com/office/drawing/2014/main" id="{E5090B5E-999D-0C63-1EA2-636AA3D82825}"/>
              </a:ext>
            </a:extLst>
          </p:cNvPr>
          <p:cNvPicPr>
            <a:picLocks noChangeAspect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0321" y="1068090"/>
            <a:ext cx="639890" cy="225241"/>
          </a:xfrm>
          <a:prstGeom prst="rect">
            <a:avLst/>
          </a:prstGeom>
        </p:spPr>
      </p:pic>
      <p:pic>
        <p:nvPicPr>
          <p:cNvPr id="89" name="Imagen 88">
            <a:extLst>
              <a:ext uri="{FF2B5EF4-FFF2-40B4-BE49-F238E27FC236}">
                <a16:creationId xmlns:a16="http://schemas.microsoft.com/office/drawing/2014/main" id="{F530156D-4553-3851-57F3-DF117EB83B79}"/>
              </a:ext>
            </a:extLst>
          </p:cNvPr>
          <p:cNvPicPr>
            <a:picLocks noChangeAspect="1"/>
          </p:cNvPicPr>
          <p:nvPr/>
        </p:nvPicPr>
        <p:blipFill>
          <a:blip r:embed="rId63"/>
          <a:stretch>
            <a:fillRect/>
          </a:stretch>
        </p:blipFill>
        <p:spPr>
          <a:xfrm>
            <a:off x="4669387" y="1397061"/>
            <a:ext cx="712175" cy="342496"/>
          </a:xfrm>
          <a:prstGeom prst="rect">
            <a:avLst/>
          </a:prstGeom>
        </p:spPr>
      </p:pic>
      <p:pic>
        <p:nvPicPr>
          <p:cNvPr id="90" name="Imagen 89">
            <a:extLst>
              <a:ext uri="{FF2B5EF4-FFF2-40B4-BE49-F238E27FC236}">
                <a16:creationId xmlns:a16="http://schemas.microsoft.com/office/drawing/2014/main" id="{CACDF7F6-3349-A1C5-E1B9-D0C8BEA6DFF7}"/>
              </a:ext>
            </a:extLst>
          </p:cNvPr>
          <p:cNvPicPr>
            <a:picLocks noChangeAspect="1"/>
          </p:cNvPicPr>
          <p:nvPr/>
        </p:nvPicPr>
        <p:blipFill>
          <a:blip r:embed="rId64"/>
          <a:stretch>
            <a:fillRect/>
          </a:stretch>
        </p:blipFill>
        <p:spPr>
          <a:xfrm>
            <a:off x="6463121" y="3089805"/>
            <a:ext cx="749457" cy="287463"/>
          </a:xfrm>
          <a:prstGeom prst="rect">
            <a:avLst/>
          </a:prstGeom>
        </p:spPr>
      </p:pic>
      <p:pic>
        <p:nvPicPr>
          <p:cNvPr id="91" name="Imagen 90">
            <a:extLst>
              <a:ext uri="{FF2B5EF4-FFF2-40B4-BE49-F238E27FC236}">
                <a16:creationId xmlns:a16="http://schemas.microsoft.com/office/drawing/2014/main" id="{00D96D2E-3610-9767-66E5-8B3F753A147A}"/>
              </a:ext>
            </a:extLst>
          </p:cNvPr>
          <p:cNvPicPr>
            <a:picLocks noChangeAspect="1"/>
          </p:cNvPicPr>
          <p:nvPr/>
        </p:nvPicPr>
        <p:blipFill>
          <a:blip r:embed="rId65"/>
          <a:stretch>
            <a:fillRect/>
          </a:stretch>
        </p:blipFill>
        <p:spPr>
          <a:xfrm>
            <a:off x="2494665" y="1867518"/>
            <a:ext cx="1288384" cy="354601"/>
          </a:xfrm>
          <a:prstGeom prst="rect">
            <a:avLst/>
          </a:prstGeom>
        </p:spPr>
      </p:pic>
      <p:pic>
        <p:nvPicPr>
          <p:cNvPr id="92" name="Picture 2" descr="logo-fincantieri - VED Srl">
            <a:extLst>
              <a:ext uri="{FF2B5EF4-FFF2-40B4-BE49-F238E27FC236}">
                <a16:creationId xmlns:a16="http://schemas.microsoft.com/office/drawing/2014/main" id="{055880E2-D2D3-F8F9-AA6D-B0B838BBDF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4846" y="3659854"/>
            <a:ext cx="1193751" cy="48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Imagen 92">
            <a:extLst>
              <a:ext uri="{FF2B5EF4-FFF2-40B4-BE49-F238E27FC236}">
                <a16:creationId xmlns:a16="http://schemas.microsoft.com/office/drawing/2014/main" id="{23E613EC-76EA-BFC2-B5FD-76D30D2FDA89}"/>
              </a:ext>
            </a:extLst>
          </p:cNvPr>
          <p:cNvPicPr>
            <a:picLocks noChangeAspect="1"/>
          </p:cNvPicPr>
          <p:nvPr/>
        </p:nvPicPr>
        <p:blipFill>
          <a:blip r:embed="rId67"/>
          <a:stretch>
            <a:fillRect/>
          </a:stretch>
        </p:blipFill>
        <p:spPr>
          <a:xfrm>
            <a:off x="4173293" y="3198084"/>
            <a:ext cx="1295515" cy="345472"/>
          </a:xfrm>
          <a:prstGeom prst="rect">
            <a:avLst/>
          </a:prstGeom>
        </p:spPr>
      </p:pic>
      <p:pic>
        <p:nvPicPr>
          <p:cNvPr id="94" name="Imagen 93">
            <a:extLst>
              <a:ext uri="{FF2B5EF4-FFF2-40B4-BE49-F238E27FC236}">
                <a16:creationId xmlns:a16="http://schemas.microsoft.com/office/drawing/2014/main" id="{4C52FE03-15CA-E5F9-A60B-0BD749761090}"/>
              </a:ext>
            </a:extLst>
          </p:cNvPr>
          <p:cNvPicPr>
            <a:picLocks noChangeAspect="1"/>
          </p:cNvPicPr>
          <p:nvPr/>
        </p:nvPicPr>
        <p:blipFill>
          <a:blip r:embed="rId68"/>
          <a:stretch>
            <a:fillRect/>
          </a:stretch>
        </p:blipFill>
        <p:spPr>
          <a:xfrm>
            <a:off x="8628168" y="3089805"/>
            <a:ext cx="610683" cy="306436"/>
          </a:xfrm>
          <a:prstGeom prst="rect">
            <a:avLst/>
          </a:prstGeom>
        </p:spPr>
      </p:pic>
      <p:pic>
        <p:nvPicPr>
          <p:cNvPr id="95" name="Imagen 94">
            <a:extLst>
              <a:ext uri="{FF2B5EF4-FFF2-40B4-BE49-F238E27FC236}">
                <a16:creationId xmlns:a16="http://schemas.microsoft.com/office/drawing/2014/main" id="{43E8781B-C4A9-2D9E-8DC2-A14CD2FA3FF0}"/>
              </a:ext>
            </a:extLst>
          </p:cNvPr>
          <p:cNvPicPr>
            <a:picLocks noChangeAspect="1"/>
          </p:cNvPicPr>
          <p:nvPr/>
        </p:nvPicPr>
        <p:blipFill>
          <a:blip r:embed="rId69"/>
          <a:stretch>
            <a:fillRect/>
          </a:stretch>
        </p:blipFill>
        <p:spPr>
          <a:xfrm>
            <a:off x="1578751" y="5583978"/>
            <a:ext cx="1166732" cy="236006"/>
          </a:xfrm>
          <a:prstGeom prst="rect">
            <a:avLst/>
          </a:prstGeom>
        </p:spPr>
      </p:pic>
      <p:pic>
        <p:nvPicPr>
          <p:cNvPr id="96" name="Imagen 95">
            <a:extLst>
              <a:ext uri="{FF2B5EF4-FFF2-40B4-BE49-F238E27FC236}">
                <a16:creationId xmlns:a16="http://schemas.microsoft.com/office/drawing/2014/main" id="{2ECCEDA9-4D94-7485-1301-F06327BC6013}"/>
              </a:ext>
            </a:extLst>
          </p:cNvPr>
          <p:cNvPicPr>
            <a:picLocks noChangeAspect="1"/>
          </p:cNvPicPr>
          <p:nvPr/>
        </p:nvPicPr>
        <p:blipFill>
          <a:blip r:embed="rId70"/>
          <a:stretch>
            <a:fillRect/>
          </a:stretch>
        </p:blipFill>
        <p:spPr>
          <a:xfrm>
            <a:off x="363611" y="5502483"/>
            <a:ext cx="777710" cy="462579"/>
          </a:xfrm>
          <a:prstGeom prst="rect">
            <a:avLst/>
          </a:prstGeom>
        </p:spPr>
      </p:pic>
      <p:pic>
        <p:nvPicPr>
          <p:cNvPr id="97" name="Picture 30" descr="tecnicas_reunidas12263863011305415334">
            <a:hlinkClick r:id="rId71"/>
            <a:extLst>
              <a:ext uri="{FF2B5EF4-FFF2-40B4-BE49-F238E27FC236}">
                <a16:creationId xmlns:a16="http://schemas.microsoft.com/office/drawing/2014/main" id="{0295937E-7E44-97BC-1B00-209D575DA9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15888" y="1470384"/>
            <a:ext cx="445989" cy="231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8" name="Imagen 97">
            <a:extLst>
              <a:ext uri="{FF2B5EF4-FFF2-40B4-BE49-F238E27FC236}">
                <a16:creationId xmlns:a16="http://schemas.microsoft.com/office/drawing/2014/main" id="{2442E3FE-D1FB-3D44-DCE5-93FF2D4DAA2F}"/>
              </a:ext>
            </a:extLst>
          </p:cNvPr>
          <p:cNvPicPr>
            <a:picLocks noChangeAspect="1"/>
          </p:cNvPicPr>
          <p:nvPr/>
        </p:nvPicPr>
        <p:blipFill>
          <a:blip r:embed="rId73"/>
          <a:stretch>
            <a:fillRect/>
          </a:stretch>
        </p:blipFill>
        <p:spPr>
          <a:xfrm>
            <a:off x="8621712" y="1910661"/>
            <a:ext cx="754634" cy="26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5239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5">
            <a:extLst>
              <a:ext uri="{FF2B5EF4-FFF2-40B4-BE49-F238E27FC236}">
                <a16:creationId xmlns:a16="http://schemas.microsoft.com/office/drawing/2014/main" id="{F365BD49-32C7-493E-8495-47B40AF56526}"/>
              </a:ext>
            </a:extLst>
          </p:cNvPr>
          <p:cNvGrpSpPr/>
          <p:nvPr/>
        </p:nvGrpSpPr>
        <p:grpSpPr>
          <a:xfrm>
            <a:off x="-1" y="489473"/>
            <a:ext cx="9731995" cy="462579"/>
            <a:chOff x="-1" y="489473"/>
            <a:chExt cx="9731995" cy="462579"/>
          </a:xfrm>
        </p:grpSpPr>
        <p:pic>
          <p:nvPicPr>
            <p:cNvPr id="40" name="Picture 7">
              <a:extLst>
                <a:ext uri="{FF2B5EF4-FFF2-40B4-BE49-F238E27FC236}">
                  <a16:creationId xmlns:a16="http://schemas.microsoft.com/office/drawing/2014/main" id="{E6B139C6-65EB-43F2-B271-DEEB7FBA7E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2359293" y="489473"/>
              <a:ext cx="7372701" cy="462579"/>
            </a:xfrm>
            <a:prstGeom prst="rect">
              <a:avLst/>
            </a:prstGeom>
          </p:spPr>
        </p:pic>
        <p:pic>
          <p:nvPicPr>
            <p:cNvPr id="41" name="Picture 8">
              <a:extLst>
                <a:ext uri="{FF2B5EF4-FFF2-40B4-BE49-F238E27FC236}">
                  <a16:creationId xmlns:a16="http://schemas.microsoft.com/office/drawing/2014/main" id="{64514471-9F92-4909-A2A5-050134E858F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1" y="489473"/>
              <a:ext cx="7372701" cy="462579"/>
            </a:xfrm>
            <a:prstGeom prst="rect">
              <a:avLst/>
            </a:prstGeom>
          </p:spPr>
        </p:pic>
      </p:grpSp>
      <p:sp>
        <p:nvSpPr>
          <p:cNvPr id="43" name="Título 4">
            <a:extLst>
              <a:ext uri="{FF2B5EF4-FFF2-40B4-BE49-F238E27FC236}">
                <a16:creationId xmlns:a16="http://schemas.microsoft.com/office/drawing/2014/main" id="{80AB1694-3A06-4BF3-9310-3ECBC9D830B3}"/>
              </a:ext>
            </a:extLst>
          </p:cNvPr>
          <p:cNvSpPr txBox="1">
            <a:spLocks/>
          </p:cNvSpPr>
          <p:nvPr/>
        </p:nvSpPr>
        <p:spPr>
          <a:xfrm>
            <a:off x="198579" y="512520"/>
            <a:ext cx="8954546" cy="46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-80 SUBMARINE </a:t>
            </a:r>
            <a:r>
              <a:rPr lang="en-US" sz="3200" dirty="0">
                <a:solidFill>
                  <a:schemeClr val="accent5">
                    <a:lumMod val="60000"/>
                    <a:lumOff val="4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FETY MILESTONES</a:t>
            </a: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2" name="Group 3">
            <a:extLst>
              <a:ext uri="{FF2B5EF4-FFF2-40B4-BE49-F238E27FC236}">
                <a16:creationId xmlns:a16="http://schemas.microsoft.com/office/drawing/2014/main" id="{D272A446-1351-54BA-E6C7-0B9D86BA29B4}"/>
              </a:ext>
            </a:extLst>
          </p:cNvPr>
          <p:cNvGrpSpPr/>
          <p:nvPr/>
        </p:nvGrpSpPr>
        <p:grpSpPr>
          <a:xfrm>
            <a:off x="552397" y="998146"/>
            <a:ext cx="10674743" cy="4374450"/>
            <a:chOff x="854380" y="1710537"/>
            <a:chExt cx="10418492" cy="3606919"/>
          </a:xfrm>
        </p:grpSpPr>
        <p:sp>
          <p:nvSpPr>
            <p:cNvPr id="3" name="1 Marcador de contenido">
              <a:extLst>
                <a:ext uri="{FF2B5EF4-FFF2-40B4-BE49-F238E27FC236}">
                  <a16:creationId xmlns:a16="http://schemas.microsoft.com/office/drawing/2014/main" id="{A416166D-607B-6BEF-5F16-4C530437925F}"/>
                </a:ext>
              </a:extLst>
            </p:cNvPr>
            <p:cNvSpPr txBox="1">
              <a:spLocks/>
            </p:cNvSpPr>
            <p:nvPr/>
          </p:nvSpPr>
          <p:spPr>
            <a:xfrm>
              <a:off x="854380" y="1710537"/>
              <a:ext cx="10293232" cy="2969040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just" defTabSz="1125444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s-ES" sz="172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281361" marR="0" lvl="0" indent="-281361" algn="just" defTabSz="112544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s-ES" sz="34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281361" marR="0" lvl="0" indent="-281361" algn="just" defTabSz="112544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s-ES" sz="34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4" name="Grupo 4">
              <a:extLst>
                <a:ext uri="{FF2B5EF4-FFF2-40B4-BE49-F238E27FC236}">
                  <a16:creationId xmlns:a16="http://schemas.microsoft.com/office/drawing/2014/main" id="{3F2785BF-E121-D3B9-3E2B-FDD30965CB94}"/>
                </a:ext>
              </a:extLst>
            </p:cNvPr>
            <p:cNvGrpSpPr/>
            <p:nvPr/>
          </p:nvGrpSpPr>
          <p:grpSpPr>
            <a:xfrm>
              <a:off x="1093749" y="3488082"/>
              <a:ext cx="9291972" cy="756449"/>
              <a:chOff x="300624" y="1723457"/>
              <a:chExt cx="9291972" cy="756449"/>
            </a:xfrm>
            <a:solidFill>
              <a:srgbClr val="C0504D">
                <a:lumMod val="25000"/>
              </a:srgbClr>
            </a:solidFill>
          </p:grpSpPr>
          <p:sp>
            <p:nvSpPr>
              <p:cNvPr id="27" name="Forma libre: forma 5">
                <a:extLst>
                  <a:ext uri="{FF2B5EF4-FFF2-40B4-BE49-F238E27FC236}">
                    <a16:creationId xmlns:a16="http://schemas.microsoft.com/office/drawing/2014/main" id="{E669FC74-3BB2-ACEF-6DDA-9B09C4BC1E9E}"/>
                  </a:ext>
                </a:extLst>
              </p:cNvPr>
              <p:cNvSpPr/>
              <p:nvPr/>
            </p:nvSpPr>
            <p:spPr>
              <a:xfrm>
                <a:off x="300624" y="1723457"/>
                <a:ext cx="2201826" cy="756449"/>
              </a:xfrm>
              <a:custGeom>
                <a:avLst/>
                <a:gdLst>
                  <a:gd name="connsiteX0" fmla="*/ 0 w 3385364"/>
                  <a:gd name="connsiteY0" fmla="*/ 0 h 2031218"/>
                  <a:gd name="connsiteX1" fmla="*/ 3385364 w 3385364"/>
                  <a:gd name="connsiteY1" fmla="*/ 0 h 2031218"/>
                  <a:gd name="connsiteX2" fmla="*/ 3385364 w 3385364"/>
                  <a:gd name="connsiteY2" fmla="*/ 2031218 h 2031218"/>
                  <a:gd name="connsiteX3" fmla="*/ 0 w 3385364"/>
                  <a:gd name="connsiteY3" fmla="*/ 2031218 h 2031218"/>
                  <a:gd name="connsiteX4" fmla="*/ 0 w 3385364"/>
                  <a:gd name="connsiteY4" fmla="*/ 0 h 20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85364" h="2031218">
                    <a:moveTo>
                      <a:pt x="0" y="0"/>
                    </a:moveTo>
                    <a:lnTo>
                      <a:pt x="3385364" y="0"/>
                    </a:lnTo>
                    <a:lnTo>
                      <a:pt x="3385364" y="2031218"/>
                    </a:lnTo>
                    <a:lnTo>
                      <a:pt x="0" y="203121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CC00"/>
              </a:solidFill>
              <a:ln w="10795" cap="flat" cmpd="sng" algn="ctr">
                <a:solidFill>
                  <a:srgbClr val="FFCC00">
                    <a:shade val="50000"/>
                  </a:srgbClr>
                </a:solidFill>
                <a:prstDash val="solid"/>
              </a:ln>
              <a:effectLst/>
            </p:spPr>
            <p:txBody>
              <a:bodyPr spcFirstLastPara="0" vert="horz" wrap="square" lIns="196948" tIns="196948" rIns="196948" bIns="196948" numCol="1" spcCol="1270" anchor="ctr" anchorCtr="0">
                <a:noAutofit/>
              </a:bodyPr>
              <a:lstStyle/>
              <a:p>
                <a:pPr marL="0" marR="0" lvl="0" indent="0" algn="ctr" defTabSz="2297781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96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UBMARINE ASHORE</a:t>
                </a:r>
              </a:p>
            </p:txBody>
          </p:sp>
          <p:sp>
            <p:nvSpPr>
              <p:cNvPr id="28" name="Forma libre: forma 6">
                <a:extLst>
                  <a:ext uri="{FF2B5EF4-FFF2-40B4-BE49-F238E27FC236}">
                    <a16:creationId xmlns:a16="http://schemas.microsoft.com/office/drawing/2014/main" id="{F625FB72-5572-DFD3-EC05-78BC2B51AA63}"/>
                  </a:ext>
                </a:extLst>
              </p:cNvPr>
              <p:cNvSpPr/>
              <p:nvPr/>
            </p:nvSpPr>
            <p:spPr>
              <a:xfrm>
                <a:off x="2668584" y="1723457"/>
                <a:ext cx="2981195" cy="756449"/>
              </a:xfrm>
              <a:custGeom>
                <a:avLst/>
                <a:gdLst>
                  <a:gd name="connsiteX0" fmla="*/ 0 w 3385364"/>
                  <a:gd name="connsiteY0" fmla="*/ 0 h 2031218"/>
                  <a:gd name="connsiteX1" fmla="*/ 3385364 w 3385364"/>
                  <a:gd name="connsiteY1" fmla="*/ 0 h 2031218"/>
                  <a:gd name="connsiteX2" fmla="*/ 3385364 w 3385364"/>
                  <a:gd name="connsiteY2" fmla="*/ 2031218 h 2031218"/>
                  <a:gd name="connsiteX3" fmla="*/ 0 w 3385364"/>
                  <a:gd name="connsiteY3" fmla="*/ 2031218 h 2031218"/>
                  <a:gd name="connsiteX4" fmla="*/ 0 w 3385364"/>
                  <a:gd name="connsiteY4" fmla="*/ 0 h 20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85364" h="2031218">
                    <a:moveTo>
                      <a:pt x="0" y="0"/>
                    </a:moveTo>
                    <a:lnTo>
                      <a:pt x="3385364" y="0"/>
                    </a:lnTo>
                    <a:lnTo>
                      <a:pt x="3385364" y="2031218"/>
                    </a:lnTo>
                    <a:lnTo>
                      <a:pt x="0" y="203121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B050"/>
              </a:solidFill>
              <a:ln w="10795" cap="flat" cmpd="sng" algn="ctr">
                <a:solidFill>
                  <a:srgbClr val="7FAEDA">
                    <a:shade val="50000"/>
                  </a:srgbClr>
                </a:solidFill>
                <a:prstDash val="solid"/>
              </a:ln>
              <a:effectLst/>
            </p:spPr>
            <p:txBody>
              <a:bodyPr spcFirstLastPara="0" vert="horz" wrap="square" lIns="196948" tIns="196948" rIns="196948" bIns="196948" numCol="1" spcCol="1270" anchor="ctr" anchorCtr="0">
                <a:noAutofit/>
              </a:bodyPr>
              <a:lstStyle/>
              <a:p>
                <a:pPr marL="0" marR="0" lvl="0" indent="0" algn="ctr" defTabSz="2297781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96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UBMARINE AT HARBOUR</a:t>
                </a:r>
              </a:p>
            </p:txBody>
          </p:sp>
          <p:sp>
            <p:nvSpPr>
              <p:cNvPr id="29" name="Forma libre: forma 7">
                <a:extLst>
                  <a:ext uri="{FF2B5EF4-FFF2-40B4-BE49-F238E27FC236}">
                    <a16:creationId xmlns:a16="http://schemas.microsoft.com/office/drawing/2014/main" id="{F54F4FB0-6DBD-25C8-3F65-1A0CF11230AC}"/>
                  </a:ext>
                </a:extLst>
              </p:cNvPr>
              <p:cNvSpPr/>
              <p:nvPr/>
            </p:nvSpPr>
            <p:spPr>
              <a:xfrm>
                <a:off x="5815913" y="1723457"/>
                <a:ext cx="3776683" cy="756449"/>
              </a:xfrm>
              <a:custGeom>
                <a:avLst/>
                <a:gdLst>
                  <a:gd name="connsiteX0" fmla="*/ 0 w 3385364"/>
                  <a:gd name="connsiteY0" fmla="*/ 0 h 2031218"/>
                  <a:gd name="connsiteX1" fmla="*/ 3385364 w 3385364"/>
                  <a:gd name="connsiteY1" fmla="*/ 0 h 2031218"/>
                  <a:gd name="connsiteX2" fmla="*/ 3385364 w 3385364"/>
                  <a:gd name="connsiteY2" fmla="*/ 2031218 h 2031218"/>
                  <a:gd name="connsiteX3" fmla="*/ 0 w 3385364"/>
                  <a:gd name="connsiteY3" fmla="*/ 2031218 h 2031218"/>
                  <a:gd name="connsiteX4" fmla="*/ 0 w 3385364"/>
                  <a:gd name="connsiteY4" fmla="*/ 0 h 20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85364" h="2031218">
                    <a:moveTo>
                      <a:pt x="0" y="0"/>
                    </a:moveTo>
                    <a:lnTo>
                      <a:pt x="3385364" y="0"/>
                    </a:lnTo>
                    <a:lnTo>
                      <a:pt x="3385364" y="2031218"/>
                    </a:lnTo>
                    <a:lnTo>
                      <a:pt x="0" y="203121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4686"/>
              </a:solidFill>
              <a:ln w="10795" cap="flat" cmpd="sng" algn="ctr">
                <a:solidFill>
                  <a:srgbClr val="004686">
                    <a:shade val="50000"/>
                  </a:srgbClr>
                </a:solidFill>
                <a:prstDash val="solid"/>
              </a:ln>
              <a:effectLst/>
            </p:spPr>
            <p:txBody>
              <a:bodyPr spcFirstLastPara="0" vert="horz" wrap="square" lIns="196948" tIns="196948" rIns="196948" bIns="196948" numCol="1" spcCol="1270" anchor="ctr" anchorCtr="0">
                <a:noAutofit/>
              </a:bodyPr>
              <a:lstStyle/>
              <a:p>
                <a:pPr marL="0" marR="0" lvl="0" indent="0" algn="ctr" defTabSz="2297781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96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UBMARINE AT SEA</a:t>
                </a:r>
              </a:p>
            </p:txBody>
          </p:sp>
        </p:grpSp>
        <p:sp>
          <p:nvSpPr>
            <p:cNvPr id="5" name="Rectángulo: esquinas redondeadas 8">
              <a:extLst>
                <a:ext uri="{FF2B5EF4-FFF2-40B4-BE49-F238E27FC236}">
                  <a16:creationId xmlns:a16="http://schemas.microsoft.com/office/drawing/2014/main" id="{2748593B-13FD-CD94-AA55-6D0D2D24DDC8}"/>
                </a:ext>
              </a:extLst>
            </p:cNvPr>
            <p:cNvSpPr/>
            <p:nvPr/>
          </p:nvSpPr>
          <p:spPr>
            <a:xfrm>
              <a:off x="1289186" y="2443033"/>
              <a:ext cx="1755870" cy="764088"/>
            </a:xfrm>
            <a:prstGeom prst="roundRect">
              <a:avLst/>
            </a:prstGeom>
            <a:solidFill>
              <a:srgbClr val="FFCC00">
                <a:shade val="80000"/>
                <a:satMod val="150000"/>
              </a:srgbClr>
            </a:solidFill>
            <a:ln w="9525" cap="flat" cmpd="sng" algn="ctr">
              <a:solidFill>
                <a:srgbClr val="FFCC00"/>
              </a:solidFill>
              <a:prstDash val="solid"/>
            </a:ln>
            <a:effectLst/>
          </p:spPr>
          <p:txBody>
            <a:bodyPr tIns="110769" bIns="110769" rtlCol="0" anchor="ctr" anchorCtr="0"/>
            <a:lstStyle/>
            <a:p>
              <a:pPr marL="0" marR="0" lvl="0" indent="0" algn="ctr" defTabSz="5627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77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02</a:t>
              </a:r>
              <a:r>
                <a:rPr kumimoji="0" lang="es-E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(Feb, 21)</a:t>
              </a:r>
            </a:p>
            <a:p>
              <a:pPr marL="0" marR="0" lvl="0" indent="0" algn="ctr" defTabSz="5627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77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mbarkation</a:t>
              </a:r>
              <a:r>
                <a:rPr kumimoji="0" lang="es-E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kumimoji="0" lang="es-ES" sz="1477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of</a:t>
              </a:r>
              <a:r>
                <a:rPr kumimoji="0" lang="es-E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kumimoji="0" lang="es-ES" sz="1477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atteries</a:t>
              </a:r>
              <a:endParaRPr kumimoji="0" lang="es-ES" sz="147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" name="Rectángulo: esquinas redondeadas 9">
              <a:extLst>
                <a:ext uri="{FF2B5EF4-FFF2-40B4-BE49-F238E27FC236}">
                  <a16:creationId xmlns:a16="http://schemas.microsoft.com/office/drawing/2014/main" id="{BA469F6B-E55B-2711-515A-DC561DB54B38}"/>
                </a:ext>
              </a:extLst>
            </p:cNvPr>
            <p:cNvSpPr/>
            <p:nvPr/>
          </p:nvSpPr>
          <p:spPr>
            <a:xfrm>
              <a:off x="2586341" y="4553368"/>
              <a:ext cx="1637909" cy="764088"/>
            </a:xfrm>
            <a:prstGeom prst="roundRect">
              <a:avLst/>
            </a:prstGeom>
            <a:solidFill>
              <a:srgbClr val="FFCC00">
                <a:shade val="80000"/>
                <a:satMod val="150000"/>
              </a:srgbClr>
            </a:solidFill>
            <a:ln w="9525" cap="flat" cmpd="sng" algn="ctr">
              <a:solidFill>
                <a:srgbClr val="FFCC00"/>
              </a:solidFill>
              <a:prstDash val="solid"/>
            </a:ln>
            <a:effectLst/>
          </p:spPr>
          <p:txBody>
            <a:bodyPr tIns="110769" bIns="110769" rtlCol="0" anchor="ctr" anchorCtr="0"/>
            <a:lstStyle/>
            <a:p>
              <a:pPr marL="0" marR="0" lvl="0" indent="0" algn="ctr" defTabSz="5627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77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03</a:t>
              </a:r>
              <a:r>
                <a:rPr kumimoji="0" lang="es-E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(May, 21)</a:t>
              </a:r>
            </a:p>
            <a:p>
              <a:pPr marL="0" marR="0" lvl="0" indent="0" algn="ctr" defTabSz="5627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77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Launching</a:t>
              </a:r>
              <a:endParaRPr kumimoji="0" lang="es-ES" sz="147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" name="Rectángulo: esquinas redondeadas 10">
              <a:extLst>
                <a:ext uri="{FF2B5EF4-FFF2-40B4-BE49-F238E27FC236}">
                  <a16:creationId xmlns:a16="http://schemas.microsoft.com/office/drawing/2014/main" id="{381A9FBA-81FA-3464-D922-AEFA0750C748}"/>
                </a:ext>
              </a:extLst>
            </p:cNvPr>
            <p:cNvSpPr/>
            <p:nvPr/>
          </p:nvSpPr>
          <p:spPr>
            <a:xfrm>
              <a:off x="3232945" y="2443033"/>
              <a:ext cx="1787211" cy="764088"/>
            </a:xfrm>
            <a:prstGeom prst="roundRect">
              <a:avLst/>
            </a:prstGeom>
            <a:solidFill>
              <a:srgbClr val="92D050"/>
            </a:solidFill>
            <a:ln w="9525" cap="flat" cmpd="sng" algn="ctr">
              <a:solidFill>
                <a:srgbClr val="7FAEDA"/>
              </a:solidFill>
              <a:prstDash val="solid"/>
            </a:ln>
            <a:effectLst/>
          </p:spPr>
          <p:txBody>
            <a:bodyPr tIns="110769" bIns="110769" rtlCol="0" anchor="ctr" anchorCtr="0"/>
            <a:lstStyle/>
            <a:p>
              <a:pPr marL="0" marR="0" lvl="0" indent="0" algn="ctr" defTabSz="5627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77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04</a:t>
              </a:r>
              <a:r>
                <a:rPr kumimoji="0" lang="es-E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(Oct, 21)</a:t>
              </a:r>
            </a:p>
            <a:p>
              <a:pPr marL="0" marR="0" lvl="0" indent="0" algn="ctr" defTabSz="5627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77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First</a:t>
              </a:r>
              <a:r>
                <a:rPr kumimoji="0" lang="es-E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Diesel </a:t>
              </a:r>
              <a:r>
                <a:rPr kumimoji="0" lang="es-ES" sz="1477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Oil</a:t>
              </a:r>
              <a:r>
                <a:rPr kumimoji="0" lang="es-E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kumimoji="0" lang="es-ES" sz="1477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mbarkation</a:t>
              </a:r>
              <a:endParaRPr kumimoji="0" lang="es-ES" sz="147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" name="Rectángulo: esquinas redondeadas 11">
              <a:extLst>
                <a:ext uri="{FF2B5EF4-FFF2-40B4-BE49-F238E27FC236}">
                  <a16:creationId xmlns:a16="http://schemas.microsoft.com/office/drawing/2014/main" id="{47B394B4-76A0-5A1A-8FD8-CE9FF4113EA4}"/>
                </a:ext>
              </a:extLst>
            </p:cNvPr>
            <p:cNvSpPr/>
            <p:nvPr/>
          </p:nvSpPr>
          <p:spPr>
            <a:xfrm>
              <a:off x="4326968" y="4553368"/>
              <a:ext cx="1777734" cy="764088"/>
            </a:xfrm>
            <a:prstGeom prst="roundRect">
              <a:avLst/>
            </a:prstGeom>
            <a:solidFill>
              <a:srgbClr val="92D050"/>
            </a:solidFill>
            <a:ln w="9525" cap="flat" cmpd="sng" algn="ctr">
              <a:solidFill>
                <a:srgbClr val="7FAEDA"/>
              </a:solidFill>
              <a:prstDash val="solid"/>
            </a:ln>
            <a:effectLst/>
          </p:spPr>
          <p:txBody>
            <a:bodyPr tIns="110769" bIns="110769" rtlCol="0" anchor="ctr" anchorCtr="0"/>
            <a:lstStyle/>
            <a:p>
              <a:pPr marL="0" marR="0" lvl="0" indent="0" algn="ctr" defTabSz="5627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7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05</a:t>
              </a:r>
              <a:r>
                <a:rPr kumimoji="0" lang="en-U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(Nov, 21)</a:t>
              </a:r>
            </a:p>
            <a:p>
              <a:pPr marL="0" marR="0" lvl="0" indent="0" algn="ctr" defTabSz="5627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First battery charge with DARs</a:t>
              </a:r>
              <a:endParaRPr kumimoji="0" lang="es-ES" sz="147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" name="Rectángulo: esquinas redondeadas 12">
              <a:extLst>
                <a:ext uri="{FF2B5EF4-FFF2-40B4-BE49-F238E27FC236}">
                  <a16:creationId xmlns:a16="http://schemas.microsoft.com/office/drawing/2014/main" id="{F0DE5B28-0B33-DA5A-265C-06B855081571}"/>
                </a:ext>
              </a:extLst>
            </p:cNvPr>
            <p:cNvSpPr/>
            <p:nvPr/>
          </p:nvSpPr>
          <p:spPr>
            <a:xfrm>
              <a:off x="5162873" y="2443033"/>
              <a:ext cx="1668918" cy="764088"/>
            </a:xfrm>
            <a:prstGeom prst="roundRect">
              <a:avLst/>
            </a:prstGeom>
            <a:solidFill>
              <a:srgbClr val="92D050"/>
            </a:solidFill>
            <a:ln w="9525" cap="flat" cmpd="sng" algn="ctr">
              <a:solidFill>
                <a:srgbClr val="7FAEDA"/>
              </a:solidFill>
              <a:prstDash val="solid"/>
            </a:ln>
            <a:effectLst/>
          </p:spPr>
          <p:txBody>
            <a:bodyPr tIns="110769" bIns="110769" rtlCol="0" anchor="ctr" anchorCtr="0"/>
            <a:lstStyle/>
            <a:p>
              <a:pPr marL="0" marR="0" lvl="0" indent="0" algn="ctr" defTabSz="5627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7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06</a:t>
              </a:r>
              <a:r>
                <a:rPr kumimoji="0" lang="en-U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(Jan, 22) </a:t>
              </a:r>
            </a:p>
            <a:p>
              <a:pPr marL="0" marR="0" lvl="0" indent="0" algn="ctr" defTabSz="5627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ooring test</a:t>
              </a:r>
              <a:endParaRPr kumimoji="0" lang="es-ES" sz="147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" name="Rectángulo: esquinas redondeadas 13">
              <a:extLst>
                <a:ext uri="{FF2B5EF4-FFF2-40B4-BE49-F238E27FC236}">
                  <a16:creationId xmlns:a16="http://schemas.microsoft.com/office/drawing/2014/main" id="{653BF5AD-66A5-58A3-935C-8E738575FC1A}"/>
                </a:ext>
              </a:extLst>
            </p:cNvPr>
            <p:cNvSpPr/>
            <p:nvPr/>
          </p:nvSpPr>
          <p:spPr>
            <a:xfrm>
              <a:off x="6974508" y="2443033"/>
              <a:ext cx="1711989" cy="764088"/>
            </a:xfrm>
            <a:prstGeom prst="roundRect">
              <a:avLst/>
            </a:prstGeom>
            <a:solidFill>
              <a:srgbClr val="7FAEDA">
                <a:shade val="80000"/>
                <a:satMod val="150000"/>
              </a:srgbClr>
            </a:solidFill>
            <a:ln w="9525" cap="flat" cmpd="sng" algn="ctr">
              <a:solidFill>
                <a:srgbClr val="7FAEDA"/>
              </a:solidFill>
              <a:prstDash val="solid"/>
            </a:ln>
            <a:effectLst/>
          </p:spPr>
          <p:txBody>
            <a:bodyPr tIns="110769" bIns="110769" rtlCol="0" anchor="ctr" anchorCtr="0"/>
            <a:lstStyle/>
            <a:p>
              <a:pPr marL="0" marR="0" lvl="0" indent="0" algn="ctr" defTabSz="5627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7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08 </a:t>
              </a:r>
              <a:r>
                <a:rPr kumimoji="0" lang="en-U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(March, 23)</a:t>
              </a:r>
            </a:p>
            <a:p>
              <a:pPr marL="0" marR="0" lvl="0" indent="0" algn="ctr" defTabSz="5627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tatic Immersion</a:t>
              </a:r>
              <a:endParaRPr kumimoji="0" lang="es-ES" sz="147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" name="Rectángulo: esquinas redondeadas 14">
              <a:extLst>
                <a:ext uri="{FF2B5EF4-FFF2-40B4-BE49-F238E27FC236}">
                  <a16:creationId xmlns:a16="http://schemas.microsoft.com/office/drawing/2014/main" id="{1B96AF18-6C6A-63CD-DC5E-34A86FC8D7D8}"/>
                </a:ext>
              </a:extLst>
            </p:cNvPr>
            <p:cNvSpPr/>
            <p:nvPr/>
          </p:nvSpPr>
          <p:spPr>
            <a:xfrm>
              <a:off x="6229963" y="4553368"/>
              <a:ext cx="1675979" cy="764088"/>
            </a:xfrm>
            <a:prstGeom prst="roundRect">
              <a:avLst/>
            </a:prstGeom>
            <a:solidFill>
              <a:srgbClr val="7FAEDA">
                <a:shade val="80000"/>
                <a:satMod val="150000"/>
              </a:srgbClr>
            </a:solidFill>
            <a:ln w="9525" cap="flat" cmpd="sng" algn="ctr">
              <a:solidFill>
                <a:srgbClr val="7FAEDA"/>
              </a:solidFill>
              <a:prstDash val="solid"/>
            </a:ln>
            <a:effectLst/>
          </p:spPr>
          <p:txBody>
            <a:bodyPr tIns="110769" bIns="110769" rtlCol="0" anchor="ctr" anchorCtr="0"/>
            <a:lstStyle/>
            <a:p>
              <a:pPr marL="0" marR="0" lvl="0" indent="0" algn="ctr" defTabSz="5627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7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07</a:t>
              </a:r>
              <a:r>
                <a:rPr kumimoji="0" lang="en-U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(May, 22)</a:t>
              </a:r>
            </a:p>
            <a:p>
              <a:pPr marL="0" marR="0" lvl="0" indent="0" algn="ctr" defTabSz="5627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First sea outing </a:t>
              </a:r>
              <a:r>
                <a:rPr lang="en-US" sz="1477" kern="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t</a:t>
              </a:r>
              <a:r>
                <a:rPr kumimoji="0" lang="en-U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surface</a:t>
              </a:r>
              <a:endParaRPr kumimoji="0" lang="es-ES" sz="147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" name="Rectángulo: esquinas redondeadas 15">
              <a:extLst>
                <a:ext uri="{FF2B5EF4-FFF2-40B4-BE49-F238E27FC236}">
                  <a16:creationId xmlns:a16="http://schemas.microsoft.com/office/drawing/2014/main" id="{7BF31FD8-49E9-CC19-B3A2-4C845B93F1A9}"/>
                </a:ext>
              </a:extLst>
            </p:cNvPr>
            <p:cNvSpPr/>
            <p:nvPr/>
          </p:nvSpPr>
          <p:spPr>
            <a:xfrm>
              <a:off x="8008658" y="4553368"/>
              <a:ext cx="1557849" cy="764088"/>
            </a:xfrm>
            <a:prstGeom prst="roundRect">
              <a:avLst/>
            </a:prstGeom>
            <a:solidFill>
              <a:srgbClr val="7FAEDA">
                <a:shade val="80000"/>
                <a:satMod val="150000"/>
              </a:srgbClr>
            </a:solidFill>
            <a:ln w="9525" cap="flat" cmpd="sng" algn="ctr">
              <a:solidFill>
                <a:srgbClr val="7FAEDA"/>
              </a:solidFill>
              <a:prstDash val="solid"/>
            </a:ln>
            <a:effectLst/>
          </p:spPr>
          <p:txBody>
            <a:bodyPr tIns="110769" bIns="110769" rtlCol="0" anchor="ctr" anchorCtr="0"/>
            <a:lstStyle/>
            <a:p>
              <a:pPr marL="0" marR="0" lvl="0" indent="0" algn="ctr" defTabSz="5627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7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09</a:t>
              </a:r>
              <a:r>
                <a:rPr kumimoji="0" lang="en-U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br>
                <a:rPr kumimoji="0" lang="en-U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kumimoji="0" lang="en-U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First diving navigation</a:t>
              </a:r>
              <a:endParaRPr kumimoji="0" lang="es-ES" sz="147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3" name="Rectángulo: esquinas redondeadas 16">
              <a:extLst>
                <a:ext uri="{FF2B5EF4-FFF2-40B4-BE49-F238E27FC236}">
                  <a16:creationId xmlns:a16="http://schemas.microsoft.com/office/drawing/2014/main" id="{8EA51BD4-9405-2526-ACA8-712E71FD5845}"/>
                </a:ext>
              </a:extLst>
            </p:cNvPr>
            <p:cNvSpPr/>
            <p:nvPr/>
          </p:nvSpPr>
          <p:spPr>
            <a:xfrm>
              <a:off x="8747391" y="2443033"/>
              <a:ext cx="1736377" cy="764088"/>
            </a:xfrm>
            <a:prstGeom prst="roundRect">
              <a:avLst/>
            </a:prstGeom>
            <a:solidFill>
              <a:srgbClr val="7FAEDA">
                <a:shade val="80000"/>
                <a:satMod val="150000"/>
              </a:srgbClr>
            </a:solidFill>
            <a:ln w="9525" cap="flat" cmpd="sng" algn="ctr">
              <a:solidFill>
                <a:srgbClr val="7FAEDA"/>
              </a:solidFill>
              <a:prstDash val="solid"/>
            </a:ln>
            <a:effectLst/>
          </p:spPr>
          <p:txBody>
            <a:bodyPr tIns="110769" bIns="110769" rtlCol="0" anchor="ctr" anchorCtr="0"/>
            <a:lstStyle/>
            <a:p>
              <a:pPr marL="0" marR="0" lvl="0" indent="0" algn="ctr" defTabSz="5627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7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10</a:t>
              </a:r>
              <a:r>
                <a:rPr kumimoji="0" lang="en-U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</a:p>
            <a:p>
              <a:pPr marL="0" marR="0" lvl="0" indent="0" algn="ctr" defTabSz="5627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First diving at DDD</a:t>
              </a:r>
              <a:endParaRPr kumimoji="0" lang="es-ES" sz="147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4" name="Rectángulo: esquinas redondeadas 17">
              <a:extLst>
                <a:ext uri="{FF2B5EF4-FFF2-40B4-BE49-F238E27FC236}">
                  <a16:creationId xmlns:a16="http://schemas.microsoft.com/office/drawing/2014/main" id="{9FC29352-2A21-368E-624B-86BA77AA637A}"/>
                </a:ext>
              </a:extLst>
            </p:cNvPr>
            <p:cNvSpPr/>
            <p:nvPr/>
          </p:nvSpPr>
          <p:spPr>
            <a:xfrm>
              <a:off x="9619290" y="4553368"/>
              <a:ext cx="1653582" cy="764088"/>
            </a:xfrm>
            <a:prstGeom prst="roundRect">
              <a:avLst/>
            </a:prstGeom>
            <a:solidFill>
              <a:srgbClr val="7FAEDA">
                <a:shade val="80000"/>
                <a:satMod val="150000"/>
              </a:srgbClr>
            </a:solidFill>
            <a:ln w="9525" cap="flat" cmpd="sng" algn="ctr">
              <a:solidFill>
                <a:srgbClr val="7FAEDA"/>
              </a:solidFill>
              <a:prstDash val="solid"/>
            </a:ln>
            <a:effectLst/>
          </p:spPr>
          <p:txBody>
            <a:bodyPr tIns="110769" bIns="110769" rtlCol="0" anchor="ctr" anchorCtr="0"/>
            <a:lstStyle/>
            <a:p>
              <a:pPr marL="0" marR="0" lvl="0" indent="0" algn="ctr" defTabSz="5627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77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11</a:t>
              </a:r>
              <a:r>
                <a:rPr kumimoji="0" lang="en-U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br>
                <a:rPr kumimoji="0" lang="en-U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kumimoji="0" lang="en-U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elivery</a:t>
              </a:r>
              <a:endParaRPr kumimoji="0" lang="es-ES" sz="147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15" name="Conector recto de flecha 18">
              <a:extLst>
                <a:ext uri="{FF2B5EF4-FFF2-40B4-BE49-F238E27FC236}">
                  <a16:creationId xmlns:a16="http://schemas.microsoft.com/office/drawing/2014/main" id="{8098D5FC-AB4A-6D2C-6748-D988CC5FBB21}"/>
                </a:ext>
              </a:extLst>
            </p:cNvPr>
            <p:cNvCxnSpPr>
              <a:cxnSpLocks/>
            </p:cNvCxnSpPr>
            <p:nvPr/>
          </p:nvCxnSpPr>
          <p:spPr>
            <a:xfrm>
              <a:off x="2354934" y="3207121"/>
              <a:ext cx="0" cy="288000"/>
            </a:xfrm>
            <a:prstGeom prst="straightConnector1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cxnSp>
          <p:nvCxnSpPr>
            <p:cNvPr id="16" name="Conector recto de flecha 19">
              <a:extLst>
                <a:ext uri="{FF2B5EF4-FFF2-40B4-BE49-F238E27FC236}">
                  <a16:creationId xmlns:a16="http://schemas.microsoft.com/office/drawing/2014/main" id="{D46E83C7-30DD-D2A4-BB97-3A5903FC07C6}"/>
                </a:ext>
              </a:extLst>
            </p:cNvPr>
            <p:cNvCxnSpPr>
              <a:cxnSpLocks/>
            </p:cNvCxnSpPr>
            <p:nvPr/>
          </p:nvCxnSpPr>
          <p:spPr>
            <a:xfrm>
              <a:off x="4127681" y="3200082"/>
              <a:ext cx="0" cy="288000"/>
            </a:xfrm>
            <a:prstGeom prst="straightConnector1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cxnSp>
          <p:nvCxnSpPr>
            <p:cNvPr id="17" name="Conector recto de flecha 20">
              <a:extLst>
                <a:ext uri="{FF2B5EF4-FFF2-40B4-BE49-F238E27FC236}">
                  <a16:creationId xmlns:a16="http://schemas.microsoft.com/office/drawing/2014/main" id="{EC4EF3BD-5C44-5299-754B-DD40AC42496C}"/>
                </a:ext>
              </a:extLst>
            </p:cNvPr>
            <p:cNvCxnSpPr>
              <a:cxnSpLocks/>
            </p:cNvCxnSpPr>
            <p:nvPr/>
          </p:nvCxnSpPr>
          <p:spPr>
            <a:xfrm>
              <a:off x="5945859" y="3200082"/>
              <a:ext cx="0" cy="288000"/>
            </a:xfrm>
            <a:prstGeom prst="straightConnector1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cxnSp>
          <p:nvCxnSpPr>
            <p:cNvPr id="18" name="Conector recto de flecha 21">
              <a:extLst>
                <a:ext uri="{FF2B5EF4-FFF2-40B4-BE49-F238E27FC236}">
                  <a16:creationId xmlns:a16="http://schemas.microsoft.com/office/drawing/2014/main" id="{D15E3365-1AE7-0569-D4C6-6E1B91FD8FFC}"/>
                </a:ext>
              </a:extLst>
            </p:cNvPr>
            <p:cNvCxnSpPr>
              <a:cxnSpLocks/>
            </p:cNvCxnSpPr>
            <p:nvPr/>
          </p:nvCxnSpPr>
          <p:spPr>
            <a:xfrm>
              <a:off x="7378691" y="3200082"/>
              <a:ext cx="0" cy="288000"/>
            </a:xfrm>
            <a:prstGeom prst="straightConnector1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cxnSp>
          <p:nvCxnSpPr>
            <p:cNvPr id="19" name="Conector recto de flecha 22">
              <a:extLst>
                <a:ext uri="{FF2B5EF4-FFF2-40B4-BE49-F238E27FC236}">
                  <a16:creationId xmlns:a16="http://schemas.microsoft.com/office/drawing/2014/main" id="{63E9EBF0-17DE-AD86-8999-2ACF187C8D08}"/>
                </a:ext>
              </a:extLst>
            </p:cNvPr>
            <p:cNvCxnSpPr>
              <a:cxnSpLocks/>
            </p:cNvCxnSpPr>
            <p:nvPr/>
          </p:nvCxnSpPr>
          <p:spPr>
            <a:xfrm>
              <a:off x="8992102" y="3200082"/>
              <a:ext cx="0" cy="288000"/>
            </a:xfrm>
            <a:prstGeom prst="straightConnector1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cxnSp>
          <p:nvCxnSpPr>
            <p:cNvPr id="20" name="Conector recto de flecha 23">
              <a:extLst>
                <a:ext uri="{FF2B5EF4-FFF2-40B4-BE49-F238E27FC236}">
                  <a16:creationId xmlns:a16="http://schemas.microsoft.com/office/drawing/2014/main" id="{4D55CFE3-6C96-A19C-732A-A664433DDA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650084" y="4244531"/>
              <a:ext cx="0" cy="288000"/>
            </a:xfrm>
            <a:prstGeom prst="straightConnector1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cxnSp>
          <p:nvCxnSpPr>
            <p:cNvPr id="21" name="Conector recto de flecha 24">
              <a:extLst>
                <a:ext uri="{FF2B5EF4-FFF2-40B4-BE49-F238E27FC236}">
                  <a16:creationId xmlns:a16="http://schemas.microsoft.com/office/drawing/2014/main" id="{3B4E26A4-41C6-405D-03C0-D98B7DDEDC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32945" y="4244531"/>
              <a:ext cx="0" cy="288000"/>
            </a:xfrm>
            <a:prstGeom prst="straightConnector1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cxnSp>
          <p:nvCxnSpPr>
            <p:cNvPr id="22" name="Conector recto de flecha 25">
              <a:extLst>
                <a:ext uri="{FF2B5EF4-FFF2-40B4-BE49-F238E27FC236}">
                  <a16:creationId xmlns:a16="http://schemas.microsoft.com/office/drawing/2014/main" id="{1A3583F9-8B86-9497-0687-7458DB061A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8519" y="4265368"/>
              <a:ext cx="0" cy="288000"/>
            </a:xfrm>
            <a:prstGeom prst="straightConnector1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cxnSp>
          <p:nvCxnSpPr>
            <p:cNvPr id="23" name="Conector recto de flecha 26">
              <a:extLst>
                <a:ext uri="{FF2B5EF4-FFF2-40B4-BE49-F238E27FC236}">
                  <a16:creationId xmlns:a16="http://schemas.microsoft.com/office/drawing/2014/main" id="{A064CDC8-3E2A-9204-5FFB-C90AE00BEE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45959" y="4244531"/>
              <a:ext cx="0" cy="288000"/>
            </a:xfrm>
            <a:prstGeom prst="straightConnector1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cxnSp>
          <p:nvCxnSpPr>
            <p:cNvPr id="24" name="Conector recto de flecha 27">
              <a:extLst>
                <a:ext uri="{FF2B5EF4-FFF2-40B4-BE49-F238E27FC236}">
                  <a16:creationId xmlns:a16="http://schemas.microsoft.com/office/drawing/2014/main" id="{123A02A0-2435-B413-C1F3-D58718AB2E5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308059" y="4257083"/>
              <a:ext cx="0" cy="288000"/>
            </a:xfrm>
            <a:prstGeom prst="straightConnector1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cxnSp>
          <p:nvCxnSpPr>
            <p:cNvPr id="25" name="Conector recto de flecha 28">
              <a:extLst>
                <a:ext uri="{FF2B5EF4-FFF2-40B4-BE49-F238E27FC236}">
                  <a16:creationId xmlns:a16="http://schemas.microsoft.com/office/drawing/2014/main" id="{ECC144ED-3136-B24A-D3DC-B2781B2C94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160900" y="4258059"/>
              <a:ext cx="0" cy="288000"/>
            </a:xfrm>
            <a:prstGeom prst="straightConnector1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sp>
          <p:nvSpPr>
            <p:cNvPr id="26" name="Rectángulo: esquinas redondeadas 38">
              <a:extLst>
                <a:ext uri="{FF2B5EF4-FFF2-40B4-BE49-F238E27FC236}">
                  <a16:creationId xmlns:a16="http://schemas.microsoft.com/office/drawing/2014/main" id="{44B27AE4-5179-74A8-7EF4-2B5B36B53305}"/>
                </a:ext>
              </a:extLst>
            </p:cNvPr>
            <p:cNvSpPr/>
            <p:nvPr/>
          </p:nvSpPr>
          <p:spPr>
            <a:xfrm>
              <a:off x="935976" y="4532531"/>
              <a:ext cx="1554402" cy="764088"/>
            </a:xfrm>
            <a:prstGeom prst="roundRect">
              <a:avLst/>
            </a:prstGeom>
            <a:solidFill>
              <a:srgbClr val="FFCC00">
                <a:shade val="80000"/>
                <a:satMod val="150000"/>
              </a:srgbClr>
            </a:solidFill>
            <a:ln w="9525" cap="flat" cmpd="sng" algn="ctr">
              <a:solidFill>
                <a:srgbClr val="FFCC00"/>
              </a:solidFill>
              <a:prstDash val="solid"/>
            </a:ln>
            <a:effectLst/>
          </p:spPr>
          <p:txBody>
            <a:bodyPr tIns="110769" bIns="110769" rtlCol="0" anchor="ctr" anchorCtr="0"/>
            <a:lstStyle/>
            <a:p>
              <a:pPr marL="0" marR="0" lvl="0" indent="0" algn="ctr" defTabSz="5627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77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01</a:t>
              </a:r>
              <a:r>
                <a:rPr kumimoji="0" lang="es-E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(Nov, 20)</a:t>
              </a:r>
            </a:p>
            <a:p>
              <a:pPr marL="0" marR="0" lvl="0" indent="0" algn="ctr" defTabSz="5627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77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ower</a:t>
              </a:r>
              <a:r>
                <a:rPr kumimoji="0" lang="es-ES" sz="147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Up</a:t>
              </a:r>
            </a:p>
          </p:txBody>
        </p:sp>
      </p:grpSp>
      <p:pic>
        <p:nvPicPr>
          <p:cNvPr id="30" name="Imagen 29" descr="Icono&#10;&#10;Descripción generada automáticamente">
            <a:extLst>
              <a:ext uri="{FF2B5EF4-FFF2-40B4-BE49-F238E27FC236}">
                <a16:creationId xmlns:a16="http://schemas.microsoft.com/office/drawing/2014/main" id="{3AAC482F-ADFF-55BD-9240-E6E4495B113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824101" y="1714825"/>
            <a:ext cx="376859" cy="376859"/>
          </a:xfrm>
          <a:prstGeom prst="rect">
            <a:avLst/>
          </a:prstGeom>
        </p:spPr>
      </p:pic>
      <p:pic>
        <p:nvPicPr>
          <p:cNvPr id="31" name="Imagen 30" descr="Icono&#10;&#10;Descripción generada automáticamente">
            <a:extLst>
              <a:ext uri="{FF2B5EF4-FFF2-40B4-BE49-F238E27FC236}">
                <a16:creationId xmlns:a16="http://schemas.microsoft.com/office/drawing/2014/main" id="{52CEEC92-CAE2-CD9B-10E0-9DE003B5830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420000" y="4247437"/>
            <a:ext cx="376859" cy="376859"/>
          </a:xfrm>
          <a:prstGeom prst="rect">
            <a:avLst/>
          </a:prstGeom>
        </p:spPr>
      </p:pic>
      <p:pic>
        <p:nvPicPr>
          <p:cNvPr id="32" name="Imagen 31" descr="Icono&#10;&#10;Descripción generada automáticamente">
            <a:extLst>
              <a:ext uri="{FF2B5EF4-FFF2-40B4-BE49-F238E27FC236}">
                <a16:creationId xmlns:a16="http://schemas.microsoft.com/office/drawing/2014/main" id="{002990A6-7D17-C0E0-F318-843A2EA2648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2254684" y="4258553"/>
            <a:ext cx="376859" cy="376859"/>
          </a:xfrm>
          <a:prstGeom prst="rect">
            <a:avLst/>
          </a:prstGeom>
        </p:spPr>
      </p:pic>
      <p:pic>
        <p:nvPicPr>
          <p:cNvPr id="33" name="Imagen 32" descr="Icono&#10;&#10;Descripción generada automáticamente">
            <a:extLst>
              <a:ext uri="{FF2B5EF4-FFF2-40B4-BE49-F238E27FC236}">
                <a16:creationId xmlns:a16="http://schemas.microsoft.com/office/drawing/2014/main" id="{49166E1D-566B-8044-54B5-E5043C1C779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2854686" y="1704619"/>
            <a:ext cx="376859" cy="376859"/>
          </a:xfrm>
          <a:prstGeom prst="rect">
            <a:avLst/>
          </a:prstGeom>
        </p:spPr>
      </p:pic>
      <p:pic>
        <p:nvPicPr>
          <p:cNvPr id="34" name="Imagen 33" descr="Icono&#10;&#10;Descripción generada automáticamente">
            <a:extLst>
              <a:ext uri="{FF2B5EF4-FFF2-40B4-BE49-F238E27FC236}">
                <a16:creationId xmlns:a16="http://schemas.microsoft.com/office/drawing/2014/main" id="{A6CDA72F-9803-C99E-0E6A-9675802716B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4054393" y="4258553"/>
            <a:ext cx="376859" cy="376859"/>
          </a:xfrm>
          <a:prstGeom prst="rect">
            <a:avLst/>
          </a:prstGeom>
        </p:spPr>
      </p:pic>
      <p:pic>
        <p:nvPicPr>
          <p:cNvPr id="35" name="Imagen 34" descr="Icono&#10;&#10;Descripción generada automáticamente">
            <a:extLst>
              <a:ext uri="{FF2B5EF4-FFF2-40B4-BE49-F238E27FC236}">
                <a16:creationId xmlns:a16="http://schemas.microsoft.com/office/drawing/2014/main" id="{B433A476-68BB-0044-268E-F048D547B04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4866648" y="1709532"/>
            <a:ext cx="376859" cy="376859"/>
          </a:xfrm>
          <a:prstGeom prst="rect">
            <a:avLst/>
          </a:prstGeom>
        </p:spPr>
      </p:pic>
      <p:pic>
        <p:nvPicPr>
          <p:cNvPr id="36" name="Imagen 35" descr="Icono&#10;&#10;Descripción generada automáticamente">
            <a:extLst>
              <a:ext uri="{FF2B5EF4-FFF2-40B4-BE49-F238E27FC236}">
                <a16:creationId xmlns:a16="http://schemas.microsoft.com/office/drawing/2014/main" id="{B629B4E5-5633-86C6-36D0-A3C00B1317F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5931855" y="4247437"/>
            <a:ext cx="376859" cy="376859"/>
          </a:xfrm>
          <a:prstGeom prst="rect">
            <a:avLst/>
          </a:prstGeom>
        </p:spPr>
      </p:pic>
      <p:pic>
        <p:nvPicPr>
          <p:cNvPr id="37" name="Imagen 36" descr="Icono&#10;&#10;Descripción generada automáticamente">
            <a:extLst>
              <a:ext uri="{FF2B5EF4-FFF2-40B4-BE49-F238E27FC236}">
                <a16:creationId xmlns:a16="http://schemas.microsoft.com/office/drawing/2014/main" id="{A1359F35-A2E6-205A-7C6B-BF9412CBC4F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6721900" y="1725905"/>
            <a:ext cx="376859" cy="376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3286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Un hombre en frente de un negocio&#10;&#10;Descripción generada automáticamente con confianza media">
            <a:extLst>
              <a:ext uri="{FF2B5EF4-FFF2-40B4-BE49-F238E27FC236}">
                <a16:creationId xmlns:a16="http://schemas.microsoft.com/office/drawing/2014/main" id="{DDF16F2D-64C6-E7C7-112A-D1DC60C2BF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8A69334B-4CA6-9AED-869B-3E97023572B0}"/>
              </a:ext>
            </a:extLst>
          </p:cNvPr>
          <p:cNvSpPr txBox="1"/>
          <p:nvPr/>
        </p:nvSpPr>
        <p:spPr>
          <a:xfrm>
            <a:off x="7971373" y="1505436"/>
            <a:ext cx="3509507" cy="160773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01</a:t>
            </a: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ower Up</a:t>
            </a:r>
          </a:p>
        </p:txBody>
      </p:sp>
    </p:spTree>
    <p:extLst>
      <p:ext uri="{BB962C8B-B14F-4D97-AF65-F5344CB8AC3E}">
        <p14:creationId xmlns:p14="http://schemas.microsoft.com/office/powerpoint/2010/main" val="12292254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180069AB-45A0-07ED-B9B2-C1DF02288F7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0716"/>
          <a:stretch/>
        </p:blipFill>
        <p:spPr>
          <a:xfrm>
            <a:off x="0" y="-92468"/>
            <a:ext cx="12196413" cy="6950467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9890FDCD-C950-3EF2-487F-2FBFCE2AD50D}"/>
              </a:ext>
            </a:extLst>
          </p:cNvPr>
          <p:cNvSpPr txBox="1"/>
          <p:nvPr/>
        </p:nvSpPr>
        <p:spPr>
          <a:xfrm>
            <a:off x="8927462" y="324221"/>
            <a:ext cx="5637088" cy="160773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02 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mbarkation 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f batteries</a:t>
            </a:r>
          </a:p>
        </p:txBody>
      </p:sp>
    </p:spTree>
    <p:extLst>
      <p:ext uri="{BB962C8B-B14F-4D97-AF65-F5344CB8AC3E}">
        <p14:creationId xmlns:p14="http://schemas.microsoft.com/office/powerpoint/2010/main" val="38662714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91B042E4-9A7A-E076-1289-ABCB3AF53FF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5" b="786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3BA61FC5-FCFF-1F34-2946-C1D66316D19D}"/>
              </a:ext>
            </a:extLst>
          </p:cNvPr>
          <p:cNvSpPr txBox="1"/>
          <p:nvPr/>
        </p:nvSpPr>
        <p:spPr>
          <a:xfrm>
            <a:off x="5897165" y="195411"/>
            <a:ext cx="5637088" cy="160773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03</a:t>
            </a: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aunching</a:t>
            </a:r>
          </a:p>
        </p:txBody>
      </p:sp>
    </p:spTree>
    <p:extLst>
      <p:ext uri="{BB962C8B-B14F-4D97-AF65-F5344CB8AC3E}">
        <p14:creationId xmlns:p14="http://schemas.microsoft.com/office/powerpoint/2010/main" val="41977186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3435C8E0-9D52-00D0-B083-B8FE864E531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3"/>
          <a:stretch/>
        </p:blipFill>
        <p:spPr>
          <a:xfrm>
            <a:off x="0" y="-14514"/>
            <a:ext cx="12192000" cy="68580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2ED90B81-BD37-7080-9110-52D8B20C308D}"/>
              </a:ext>
            </a:extLst>
          </p:cNvPr>
          <p:cNvSpPr txBox="1"/>
          <p:nvPr/>
        </p:nvSpPr>
        <p:spPr>
          <a:xfrm>
            <a:off x="6402442" y="919795"/>
            <a:ext cx="5637088" cy="160773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irst</a:t>
            </a:r>
            <a:r>
              <a:rPr lang="en-US" sz="6600" kern="0" dirty="0">
                <a:solidFill>
                  <a:prstClr val="white"/>
                </a:solidFill>
                <a:latin typeface="Tahoma"/>
              </a:rPr>
              <a:t> </a:t>
            </a:r>
            <a:r>
              <a:rPr kumimoji="0" lang="en-US" sz="6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04 &amp; 05</a:t>
            </a: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iesel oil embarkation </a:t>
            </a:r>
          </a:p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&amp; </a:t>
            </a:r>
          </a:p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attery charging with diesel engines</a:t>
            </a:r>
          </a:p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62649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hlinkClick r:id="rId2" action="ppaction://hlinkfile"/>
            <a:extLst>
              <a:ext uri="{FF2B5EF4-FFF2-40B4-BE49-F238E27FC236}">
                <a16:creationId xmlns:a16="http://schemas.microsoft.com/office/drawing/2014/main" id="{1226F463-E00B-DE2D-64DC-504DD769E5B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161" r="51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8B399F0A-B463-4B5E-9F5B-C466F126D2C8}"/>
              </a:ext>
            </a:extLst>
          </p:cNvPr>
          <p:cNvSpPr txBox="1"/>
          <p:nvPr/>
        </p:nvSpPr>
        <p:spPr>
          <a:xfrm>
            <a:off x="8973761" y="243979"/>
            <a:ext cx="5637088" cy="160773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06 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ooring Test</a:t>
            </a:r>
          </a:p>
        </p:txBody>
      </p:sp>
    </p:spTree>
    <p:extLst>
      <p:ext uri="{BB962C8B-B14F-4D97-AF65-F5344CB8AC3E}">
        <p14:creationId xmlns:p14="http://schemas.microsoft.com/office/powerpoint/2010/main" val="25715130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Un barco en el agua&#10;&#10;Descripción generada automáticamente">
            <a:extLst>
              <a:ext uri="{FF2B5EF4-FFF2-40B4-BE49-F238E27FC236}">
                <a16:creationId xmlns:a16="http://schemas.microsoft.com/office/drawing/2014/main" id="{1670DD16-6A44-27A7-642F-BDE80054BB5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786" b="778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F8655891-196D-7E62-DC4D-0797D8E81375}"/>
              </a:ext>
            </a:extLst>
          </p:cNvPr>
          <p:cNvSpPr txBox="1"/>
          <p:nvPr/>
        </p:nvSpPr>
        <p:spPr>
          <a:xfrm>
            <a:off x="7966764" y="0"/>
            <a:ext cx="5637088" cy="160773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07 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irst sea 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uting at surface</a:t>
            </a:r>
          </a:p>
        </p:txBody>
      </p:sp>
    </p:spTree>
    <p:extLst>
      <p:ext uri="{BB962C8B-B14F-4D97-AF65-F5344CB8AC3E}">
        <p14:creationId xmlns:p14="http://schemas.microsoft.com/office/powerpoint/2010/main" val="16474625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n 4" descr="Un barco en el mar&#10;&#10;Descripción generada automáticamente">
            <a:extLst>
              <a:ext uri="{FF2B5EF4-FFF2-40B4-BE49-F238E27FC236}">
                <a16:creationId xmlns:a16="http://schemas.microsoft.com/office/drawing/2014/main" id="{B1A194E9-E5EC-EE5B-8138-A389A2BA6C1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4286" b="128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Oval 57">
            <a:extLst>
              <a:ext uri="{FF2B5EF4-FFF2-40B4-BE49-F238E27FC236}">
                <a16:creationId xmlns:a16="http://schemas.microsoft.com/office/drawing/2014/main" id="{D3E0EC91-DFCC-2010-B0F9-5D2B383ED460}"/>
              </a:ext>
            </a:extLst>
          </p:cNvPr>
          <p:cNvSpPr>
            <a:spLocks/>
          </p:cNvSpPr>
          <p:nvPr/>
        </p:nvSpPr>
        <p:spPr>
          <a:xfrm>
            <a:off x="3318267" y="5582773"/>
            <a:ext cx="983783" cy="984960"/>
          </a:xfrm>
          <a:prstGeom prst="ellipse">
            <a:avLst/>
          </a:prstGeom>
          <a:solidFill>
            <a:schemeClr val="bg1"/>
          </a:solidFill>
          <a:ln w="25717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5DB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81m</a:t>
            </a:r>
          </a:p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verall Length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" name="Oval 58">
            <a:extLst>
              <a:ext uri="{FF2B5EF4-FFF2-40B4-BE49-F238E27FC236}">
                <a16:creationId xmlns:a16="http://schemas.microsoft.com/office/drawing/2014/main" id="{2B80D823-3496-FBD2-6FFB-A12567BDD526}"/>
              </a:ext>
            </a:extLst>
          </p:cNvPr>
          <p:cNvSpPr>
            <a:spLocks/>
          </p:cNvSpPr>
          <p:nvPr/>
        </p:nvSpPr>
        <p:spPr>
          <a:xfrm>
            <a:off x="4456687" y="5582773"/>
            <a:ext cx="983783" cy="984960"/>
          </a:xfrm>
          <a:prstGeom prst="ellipse">
            <a:avLst/>
          </a:prstGeom>
          <a:solidFill>
            <a:schemeClr val="bg1"/>
          </a:solidFill>
          <a:ln w="25717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5DB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7.3 m</a:t>
            </a:r>
          </a:p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essure hull diameter</a:t>
            </a:r>
          </a:p>
        </p:txBody>
      </p:sp>
      <p:sp>
        <p:nvSpPr>
          <p:cNvPr id="8" name="Oval 59">
            <a:extLst>
              <a:ext uri="{FF2B5EF4-FFF2-40B4-BE49-F238E27FC236}">
                <a16:creationId xmlns:a16="http://schemas.microsoft.com/office/drawing/2014/main" id="{53A73B31-CD0B-F4D6-31CB-138D20E0E33B}"/>
              </a:ext>
            </a:extLst>
          </p:cNvPr>
          <p:cNvSpPr>
            <a:spLocks/>
          </p:cNvSpPr>
          <p:nvPr/>
        </p:nvSpPr>
        <p:spPr>
          <a:xfrm>
            <a:off x="5595106" y="5582773"/>
            <a:ext cx="983783" cy="984960"/>
          </a:xfrm>
          <a:prstGeom prst="ellipse">
            <a:avLst/>
          </a:prstGeom>
          <a:solidFill>
            <a:schemeClr val="bg1"/>
          </a:solidFill>
          <a:ln w="25717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5DB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6.3 m</a:t>
            </a:r>
          </a:p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an Draugh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" name="Oval 62">
            <a:extLst>
              <a:ext uri="{FF2B5EF4-FFF2-40B4-BE49-F238E27FC236}">
                <a16:creationId xmlns:a16="http://schemas.microsoft.com/office/drawing/2014/main" id="{ED4B161A-A28F-8FDF-C19F-7FB95289C902}"/>
              </a:ext>
            </a:extLst>
          </p:cNvPr>
          <p:cNvSpPr>
            <a:spLocks/>
          </p:cNvSpPr>
          <p:nvPr/>
        </p:nvSpPr>
        <p:spPr>
          <a:xfrm>
            <a:off x="7937702" y="5582773"/>
            <a:ext cx="983783" cy="984960"/>
          </a:xfrm>
          <a:prstGeom prst="ellipse">
            <a:avLst/>
          </a:prstGeom>
          <a:solidFill>
            <a:schemeClr val="bg1"/>
          </a:solidFill>
          <a:ln w="25717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5DB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32 + 8 </a:t>
            </a:r>
          </a:p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rew and Special Forces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" name="Oval 61">
            <a:extLst>
              <a:ext uri="{FF2B5EF4-FFF2-40B4-BE49-F238E27FC236}">
                <a16:creationId xmlns:a16="http://schemas.microsoft.com/office/drawing/2014/main" id="{B45721B4-9516-39B1-F42B-7FFCE8C4D5E1}"/>
              </a:ext>
            </a:extLst>
          </p:cNvPr>
          <p:cNvSpPr>
            <a:spLocks/>
          </p:cNvSpPr>
          <p:nvPr/>
        </p:nvSpPr>
        <p:spPr>
          <a:xfrm>
            <a:off x="6710177" y="5582773"/>
            <a:ext cx="1007136" cy="984960"/>
          </a:xfrm>
          <a:prstGeom prst="ellipse">
            <a:avLst/>
          </a:prstGeom>
          <a:solidFill>
            <a:schemeClr val="bg1"/>
          </a:solidFill>
          <a:ln w="25717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5DB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,965 t</a:t>
            </a:r>
          </a:p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ubmerged displacement</a:t>
            </a:r>
          </a:p>
        </p:txBody>
      </p:sp>
      <p:grpSp>
        <p:nvGrpSpPr>
          <p:cNvPr id="18" name="Group 5">
            <a:extLst>
              <a:ext uri="{FF2B5EF4-FFF2-40B4-BE49-F238E27FC236}">
                <a16:creationId xmlns:a16="http://schemas.microsoft.com/office/drawing/2014/main" id="{F7922C80-8597-B64E-FFB2-85F520A22D10}"/>
              </a:ext>
            </a:extLst>
          </p:cNvPr>
          <p:cNvGrpSpPr/>
          <p:nvPr/>
        </p:nvGrpSpPr>
        <p:grpSpPr>
          <a:xfrm>
            <a:off x="-1" y="489473"/>
            <a:ext cx="9731995" cy="462579"/>
            <a:chOff x="-1" y="489473"/>
            <a:chExt cx="9731995" cy="462579"/>
          </a:xfrm>
        </p:grpSpPr>
        <p:pic>
          <p:nvPicPr>
            <p:cNvPr id="19" name="Picture 7">
              <a:extLst>
                <a:ext uri="{FF2B5EF4-FFF2-40B4-BE49-F238E27FC236}">
                  <a16:creationId xmlns:a16="http://schemas.microsoft.com/office/drawing/2014/main" id="{F2343AAC-10F5-02BC-F678-AB62168C76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359293" y="489473"/>
              <a:ext cx="7372701" cy="462579"/>
            </a:xfrm>
            <a:prstGeom prst="rect">
              <a:avLst/>
            </a:prstGeom>
          </p:spPr>
        </p:pic>
        <p:pic>
          <p:nvPicPr>
            <p:cNvPr id="20" name="Picture 8">
              <a:extLst>
                <a:ext uri="{FF2B5EF4-FFF2-40B4-BE49-F238E27FC236}">
                  <a16:creationId xmlns:a16="http://schemas.microsoft.com/office/drawing/2014/main" id="{48286BB6-D400-942F-C49D-306BDA35C8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-1" y="489473"/>
              <a:ext cx="7372701" cy="462579"/>
            </a:xfrm>
            <a:prstGeom prst="rect">
              <a:avLst/>
            </a:prstGeom>
          </p:spPr>
        </p:pic>
      </p:grpSp>
      <p:sp>
        <p:nvSpPr>
          <p:cNvPr id="21" name="Título 4">
            <a:extLst>
              <a:ext uri="{FF2B5EF4-FFF2-40B4-BE49-F238E27FC236}">
                <a16:creationId xmlns:a16="http://schemas.microsoft.com/office/drawing/2014/main" id="{4ACFB322-C0B7-B9E7-3B97-41D63ADC722F}"/>
              </a:ext>
            </a:extLst>
          </p:cNvPr>
          <p:cNvSpPr txBox="1">
            <a:spLocks/>
          </p:cNvSpPr>
          <p:nvPr/>
        </p:nvSpPr>
        <p:spPr>
          <a:xfrm>
            <a:off x="198579" y="512520"/>
            <a:ext cx="8954546" cy="46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s-ES" sz="3200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S80 SUBMARINE </a:t>
            </a:r>
            <a:r>
              <a:rPr lang="en-US" sz="3200" dirty="0">
                <a:solidFill>
                  <a:srgbClr val="07606E">
                    <a:lumMod val="60000"/>
                    <a:lumOff val="40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MAIN FEATURES</a:t>
            </a:r>
            <a:endParaRPr lang="en-GB" sz="3200" dirty="0">
              <a:solidFill>
                <a:prstClr val="white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6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Un barco en el mar&#10;&#10;Descripción generada automáticamente">
            <a:extLst>
              <a:ext uri="{FF2B5EF4-FFF2-40B4-BE49-F238E27FC236}">
                <a16:creationId xmlns:a16="http://schemas.microsoft.com/office/drawing/2014/main" id="{281CCB86-57BF-19F9-8A7E-852C5DB70B4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98" r="2219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F8655891-196D-7E62-DC4D-0797D8E81375}"/>
              </a:ext>
            </a:extLst>
          </p:cNvPr>
          <p:cNvSpPr txBox="1"/>
          <p:nvPr/>
        </p:nvSpPr>
        <p:spPr>
          <a:xfrm>
            <a:off x="8764091" y="-107361"/>
            <a:ext cx="5637088" cy="160773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08 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atic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mmersion</a:t>
            </a:r>
          </a:p>
        </p:txBody>
      </p:sp>
    </p:spTree>
    <p:extLst>
      <p:ext uri="{BB962C8B-B14F-4D97-AF65-F5344CB8AC3E}">
        <p14:creationId xmlns:p14="http://schemas.microsoft.com/office/powerpoint/2010/main" val="37662485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Elementos multimedia en línea 2" title="Primera inmersión del S-81 Isaac Peral (30/03/2023)">
            <a:hlinkClick r:id="" action="ppaction://media"/>
            <a:extLst>
              <a:ext uri="{FF2B5EF4-FFF2-40B4-BE49-F238E27FC236}">
                <a16:creationId xmlns:a16="http://schemas.microsoft.com/office/drawing/2014/main" id="{E740A85B-3A81-0584-B269-4CFC0E5753D8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 rotWithShape="1">
          <a:blip r:embed="rId3"/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33851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Un barco en el mar&#10;&#10;Descripción generada automáticamente">
            <a:extLst>
              <a:ext uri="{FF2B5EF4-FFF2-40B4-BE49-F238E27FC236}">
                <a16:creationId xmlns:a16="http://schemas.microsoft.com/office/drawing/2014/main" id="{72BF52DA-9B1C-4FAB-AE41-DF2C3FCCC4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" y="-81633"/>
            <a:ext cx="12337123" cy="6939633"/>
          </a:xfrm>
          <a:prstGeom prst="rect">
            <a:avLst/>
          </a:prstGeom>
          <a:noFill/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C87CDC1-697E-4A87-BB26-7209A1549522}"/>
              </a:ext>
            </a:extLst>
          </p:cNvPr>
          <p:cNvSpPr txBox="1">
            <a:spLocks/>
          </p:cNvSpPr>
          <p:nvPr/>
        </p:nvSpPr>
        <p:spPr>
          <a:xfrm>
            <a:off x="6353263" y="5119017"/>
            <a:ext cx="5598051" cy="88669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6600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837090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n 3">
            <a:extLst>
              <a:ext uri="{FF2B5EF4-FFF2-40B4-BE49-F238E27FC236}">
                <a16:creationId xmlns:a16="http://schemas.microsoft.com/office/drawing/2014/main" id="{0CCAF1D8-788B-F522-736D-0778E9FB63D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241"/>
            <a:ext cx="12219917" cy="6872482"/>
          </a:xfrm>
          <a:prstGeom prst="rect">
            <a:avLst/>
          </a:prstGeom>
        </p:spPr>
      </p:pic>
      <p:sp>
        <p:nvSpPr>
          <p:cNvPr id="14" name="Rectangle 26">
            <a:extLst>
              <a:ext uri="{FF2B5EF4-FFF2-40B4-BE49-F238E27FC236}">
                <a16:creationId xmlns:a16="http://schemas.microsoft.com/office/drawing/2014/main" id="{E295C24B-61EA-DF2C-7951-18BD42630E5D}"/>
              </a:ext>
            </a:extLst>
          </p:cNvPr>
          <p:cNvSpPr/>
          <p:nvPr/>
        </p:nvSpPr>
        <p:spPr>
          <a:xfrm>
            <a:off x="62287" y="66921"/>
            <a:ext cx="3071857" cy="2764931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7" name="Oval 57">
            <a:extLst>
              <a:ext uri="{FF2B5EF4-FFF2-40B4-BE49-F238E27FC236}">
                <a16:creationId xmlns:a16="http://schemas.microsoft.com/office/drawing/2014/main" id="{87326E38-23E2-1A37-C692-A69B83C43D3D}"/>
              </a:ext>
            </a:extLst>
          </p:cNvPr>
          <p:cNvSpPr>
            <a:spLocks/>
          </p:cNvSpPr>
          <p:nvPr/>
        </p:nvSpPr>
        <p:spPr>
          <a:xfrm>
            <a:off x="8829368" y="1007183"/>
            <a:ext cx="1420967" cy="1443461"/>
          </a:xfrm>
          <a:prstGeom prst="ellips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5DB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apabilitie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5CBB0433-A3A9-8743-0732-7178EBBC4754}"/>
              </a:ext>
            </a:extLst>
          </p:cNvPr>
          <p:cNvSpPr txBox="1"/>
          <p:nvPr/>
        </p:nvSpPr>
        <p:spPr>
          <a:xfrm>
            <a:off x="8556556" y="305826"/>
            <a:ext cx="2162175" cy="5232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ti-submarine Warfare (ASW) </a:t>
            </a:r>
          </a:p>
        </p:txBody>
      </p: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id="{1FCD9CE1-F368-B589-86B5-8B2EDAA1F24E}"/>
              </a:ext>
            </a:extLst>
          </p:cNvPr>
          <p:cNvCxnSpPr>
            <a:cxnSpLocks/>
            <a:stCxn id="25" idx="2"/>
            <a:endCxn id="17" idx="0"/>
          </p:cNvCxnSpPr>
          <p:nvPr/>
        </p:nvCxnSpPr>
        <p:spPr>
          <a:xfrm flipH="1">
            <a:off x="9539852" y="829046"/>
            <a:ext cx="97792" cy="178137"/>
          </a:xfrm>
          <a:prstGeom prst="line">
            <a:avLst/>
          </a:prstGeom>
          <a:ln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5" name="CuadroTexto 34">
            <a:extLst>
              <a:ext uri="{FF2B5EF4-FFF2-40B4-BE49-F238E27FC236}">
                <a16:creationId xmlns:a16="http://schemas.microsoft.com/office/drawing/2014/main" id="{04F5CB42-DFE9-6F18-38E6-4DDA5D1F3FF6}"/>
              </a:ext>
            </a:extLst>
          </p:cNvPr>
          <p:cNvSpPr txBox="1"/>
          <p:nvPr/>
        </p:nvSpPr>
        <p:spPr>
          <a:xfrm>
            <a:off x="7167395" y="794701"/>
            <a:ext cx="1857558" cy="5232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ti-Surface Warfare (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uW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</a:p>
        </p:txBody>
      </p:sp>
      <p:cxnSp>
        <p:nvCxnSpPr>
          <p:cNvPr id="37" name="Conector recto 36">
            <a:extLst>
              <a:ext uri="{FF2B5EF4-FFF2-40B4-BE49-F238E27FC236}">
                <a16:creationId xmlns:a16="http://schemas.microsoft.com/office/drawing/2014/main" id="{E333968B-D07D-16B8-5925-4F8B0FEF703E}"/>
              </a:ext>
            </a:extLst>
          </p:cNvPr>
          <p:cNvCxnSpPr>
            <a:cxnSpLocks/>
            <a:stCxn id="17" idx="1"/>
          </p:cNvCxnSpPr>
          <p:nvPr/>
        </p:nvCxnSpPr>
        <p:spPr>
          <a:xfrm flipH="1" flipV="1">
            <a:off x="9022110" y="1025533"/>
            <a:ext cx="15354" cy="193040"/>
          </a:xfrm>
          <a:prstGeom prst="line">
            <a:avLst/>
          </a:prstGeom>
          <a:ln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9" name="CuadroTexto 38">
            <a:extLst>
              <a:ext uri="{FF2B5EF4-FFF2-40B4-BE49-F238E27FC236}">
                <a16:creationId xmlns:a16="http://schemas.microsoft.com/office/drawing/2014/main" id="{4CB2E31B-9B19-C546-E267-52ACE2BF5E90}"/>
              </a:ext>
            </a:extLst>
          </p:cNvPr>
          <p:cNvSpPr txBox="1"/>
          <p:nvPr/>
        </p:nvSpPr>
        <p:spPr>
          <a:xfrm>
            <a:off x="10333276" y="802939"/>
            <a:ext cx="1231065" cy="5232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nd-Attack capability</a:t>
            </a:r>
          </a:p>
        </p:txBody>
      </p:sp>
      <p:cxnSp>
        <p:nvCxnSpPr>
          <p:cNvPr id="41" name="Conector recto 40">
            <a:extLst>
              <a:ext uri="{FF2B5EF4-FFF2-40B4-BE49-F238E27FC236}">
                <a16:creationId xmlns:a16="http://schemas.microsoft.com/office/drawing/2014/main" id="{E96D141C-1E71-25DC-4519-BF471B6CB431}"/>
              </a:ext>
            </a:extLst>
          </p:cNvPr>
          <p:cNvCxnSpPr>
            <a:cxnSpLocks/>
            <a:stCxn id="17" idx="7"/>
            <a:endCxn id="39" idx="1"/>
          </p:cNvCxnSpPr>
          <p:nvPr/>
        </p:nvCxnSpPr>
        <p:spPr>
          <a:xfrm flipV="1">
            <a:off x="10042239" y="1064549"/>
            <a:ext cx="291037" cy="154024"/>
          </a:xfrm>
          <a:prstGeom prst="line">
            <a:avLst/>
          </a:prstGeom>
          <a:ln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4" name="CuadroTexto 43">
            <a:extLst>
              <a:ext uri="{FF2B5EF4-FFF2-40B4-BE49-F238E27FC236}">
                <a16:creationId xmlns:a16="http://schemas.microsoft.com/office/drawing/2014/main" id="{6B2B89B1-51AB-0DF9-0245-600E11425900}"/>
              </a:ext>
            </a:extLst>
          </p:cNvPr>
          <p:cNvSpPr txBox="1"/>
          <p:nvPr/>
        </p:nvSpPr>
        <p:spPr>
          <a:xfrm>
            <a:off x="7234656" y="1927424"/>
            <a:ext cx="1707356" cy="5232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igh-capability of Mine-laying</a:t>
            </a: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id="{D9932055-85E9-EE78-991A-A586FD4CF4B7}"/>
              </a:ext>
            </a:extLst>
          </p:cNvPr>
          <p:cNvSpPr txBox="1"/>
          <p:nvPr/>
        </p:nvSpPr>
        <p:spPr>
          <a:xfrm>
            <a:off x="10333276" y="1927424"/>
            <a:ext cx="1516856" cy="5232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ull Integration in Task Force</a:t>
            </a: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ACDA6A34-52D4-4567-4C0C-47058349E15E}"/>
              </a:ext>
            </a:extLst>
          </p:cNvPr>
          <p:cNvSpPr txBox="1"/>
          <p:nvPr/>
        </p:nvSpPr>
        <p:spPr>
          <a:xfrm>
            <a:off x="8201024" y="2628781"/>
            <a:ext cx="2867025" cy="89255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elligence, Surveillan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 Reconnaissance (ISR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vities</a:t>
            </a:r>
            <a:endParaRPr kumimoji="0" lang="en-US" altLang="es-E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52" name="Conector recto 51">
            <a:extLst>
              <a:ext uri="{FF2B5EF4-FFF2-40B4-BE49-F238E27FC236}">
                <a16:creationId xmlns:a16="http://schemas.microsoft.com/office/drawing/2014/main" id="{38D55845-DA72-383F-FA1D-38F9C93B424B}"/>
              </a:ext>
            </a:extLst>
          </p:cNvPr>
          <p:cNvCxnSpPr>
            <a:cxnSpLocks/>
            <a:stCxn id="44" idx="3"/>
            <a:endCxn id="17" idx="3"/>
          </p:cNvCxnSpPr>
          <p:nvPr/>
        </p:nvCxnSpPr>
        <p:spPr>
          <a:xfrm>
            <a:off x="8942012" y="2189034"/>
            <a:ext cx="95452" cy="50220"/>
          </a:xfrm>
          <a:prstGeom prst="line">
            <a:avLst/>
          </a:prstGeom>
          <a:ln w="9525" cap="rnd">
            <a:solidFill>
              <a:schemeClr val="accent5"/>
            </a:solidFill>
            <a:prstDash val="solid"/>
            <a:round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ector recto 53">
            <a:extLst>
              <a:ext uri="{FF2B5EF4-FFF2-40B4-BE49-F238E27FC236}">
                <a16:creationId xmlns:a16="http://schemas.microsoft.com/office/drawing/2014/main" id="{5078C31E-B05D-6E9A-4670-9FDC0C0FA10A}"/>
              </a:ext>
            </a:extLst>
          </p:cNvPr>
          <p:cNvCxnSpPr>
            <a:cxnSpLocks/>
            <a:endCxn id="17" idx="3"/>
          </p:cNvCxnSpPr>
          <p:nvPr/>
        </p:nvCxnSpPr>
        <p:spPr>
          <a:xfrm>
            <a:off x="8942012" y="2158256"/>
            <a:ext cx="95452" cy="80998"/>
          </a:xfrm>
          <a:prstGeom prst="line">
            <a:avLst/>
          </a:prstGeom>
          <a:ln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6" name="Conector recto 55">
            <a:extLst>
              <a:ext uri="{FF2B5EF4-FFF2-40B4-BE49-F238E27FC236}">
                <a16:creationId xmlns:a16="http://schemas.microsoft.com/office/drawing/2014/main" id="{D331F358-F9F1-092E-45AE-0F12F03D6FE6}"/>
              </a:ext>
            </a:extLst>
          </p:cNvPr>
          <p:cNvCxnSpPr>
            <a:cxnSpLocks/>
            <a:stCxn id="17" idx="4"/>
            <a:endCxn id="48" idx="0"/>
          </p:cNvCxnSpPr>
          <p:nvPr/>
        </p:nvCxnSpPr>
        <p:spPr>
          <a:xfrm>
            <a:off x="9539852" y="2450644"/>
            <a:ext cx="94685" cy="178137"/>
          </a:xfrm>
          <a:prstGeom prst="line">
            <a:avLst/>
          </a:prstGeom>
          <a:ln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9" name="Conector recto 58">
            <a:extLst>
              <a:ext uri="{FF2B5EF4-FFF2-40B4-BE49-F238E27FC236}">
                <a16:creationId xmlns:a16="http://schemas.microsoft.com/office/drawing/2014/main" id="{A5319A1D-2BE9-0FD2-492F-BEFDC6FF605A}"/>
              </a:ext>
            </a:extLst>
          </p:cNvPr>
          <p:cNvCxnSpPr>
            <a:cxnSpLocks/>
            <a:endCxn id="17" idx="5"/>
          </p:cNvCxnSpPr>
          <p:nvPr/>
        </p:nvCxnSpPr>
        <p:spPr>
          <a:xfrm flipH="1">
            <a:off x="10042239" y="2158256"/>
            <a:ext cx="291037" cy="80998"/>
          </a:xfrm>
          <a:prstGeom prst="line">
            <a:avLst/>
          </a:prstGeom>
          <a:ln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65" name="Conector recto 64">
            <a:extLst>
              <a:ext uri="{FF2B5EF4-FFF2-40B4-BE49-F238E27FC236}">
                <a16:creationId xmlns:a16="http://schemas.microsoft.com/office/drawing/2014/main" id="{253C19DF-E0D5-B931-E48F-BF44BFE7A0DA}"/>
              </a:ext>
            </a:extLst>
          </p:cNvPr>
          <p:cNvCxnSpPr>
            <a:cxnSpLocks/>
          </p:cNvCxnSpPr>
          <p:nvPr/>
        </p:nvCxnSpPr>
        <p:spPr>
          <a:xfrm flipV="1">
            <a:off x="1447272" y="3640989"/>
            <a:ext cx="0" cy="286679"/>
          </a:xfrm>
          <a:prstGeom prst="line">
            <a:avLst/>
          </a:prstGeom>
          <a:ln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67" name="Conector recto 66">
            <a:extLst>
              <a:ext uri="{FF2B5EF4-FFF2-40B4-BE49-F238E27FC236}">
                <a16:creationId xmlns:a16="http://schemas.microsoft.com/office/drawing/2014/main" id="{BD69E2AF-A40F-21ED-ABB2-2339929735EA}"/>
              </a:ext>
            </a:extLst>
          </p:cNvPr>
          <p:cNvCxnSpPr>
            <a:cxnSpLocks/>
          </p:cNvCxnSpPr>
          <p:nvPr/>
        </p:nvCxnSpPr>
        <p:spPr>
          <a:xfrm>
            <a:off x="1447272" y="5097518"/>
            <a:ext cx="0" cy="311095"/>
          </a:xfrm>
          <a:prstGeom prst="line">
            <a:avLst/>
          </a:prstGeom>
          <a:ln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" name="CuadroTexto 1">
            <a:extLst>
              <a:ext uri="{FF2B5EF4-FFF2-40B4-BE49-F238E27FC236}">
                <a16:creationId xmlns:a16="http://schemas.microsoft.com/office/drawing/2014/main" id="{1A383E5D-0547-9407-BF3D-12622BBD9A18}"/>
              </a:ext>
            </a:extLst>
          </p:cNvPr>
          <p:cNvSpPr txBox="1"/>
          <p:nvPr/>
        </p:nvSpPr>
        <p:spPr>
          <a:xfrm>
            <a:off x="80220" y="444231"/>
            <a:ext cx="287121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prstClr val="whit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LONG RANGE CONVENTIONAL SUBMARINE ENHANCED WITH AIR INDEPENDENT PROPULSION</a:t>
            </a:r>
            <a:endParaRPr lang="es-ES" sz="2400" b="1" dirty="0">
              <a:solidFill>
                <a:prstClr val="white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131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5">
            <a:extLst>
              <a:ext uri="{FF2B5EF4-FFF2-40B4-BE49-F238E27FC236}">
                <a16:creationId xmlns:a16="http://schemas.microsoft.com/office/drawing/2014/main" id="{F365BD49-32C7-493E-8495-47B40AF56526}"/>
              </a:ext>
            </a:extLst>
          </p:cNvPr>
          <p:cNvGrpSpPr/>
          <p:nvPr/>
        </p:nvGrpSpPr>
        <p:grpSpPr>
          <a:xfrm>
            <a:off x="0" y="332365"/>
            <a:ext cx="9731995" cy="462579"/>
            <a:chOff x="-1" y="489473"/>
            <a:chExt cx="9731995" cy="462579"/>
          </a:xfrm>
        </p:grpSpPr>
        <p:pic>
          <p:nvPicPr>
            <p:cNvPr id="40" name="Picture 7">
              <a:extLst>
                <a:ext uri="{FF2B5EF4-FFF2-40B4-BE49-F238E27FC236}">
                  <a16:creationId xmlns:a16="http://schemas.microsoft.com/office/drawing/2014/main" id="{E6B139C6-65EB-43F2-B271-DEEB7FBA7E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2359293" y="489473"/>
              <a:ext cx="7372701" cy="462579"/>
            </a:xfrm>
            <a:prstGeom prst="rect">
              <a:avLst/>
            </a:prstGeom>
          </p:spPr>
        </p:pic>
        <p:pic>
          <p:nvPicPr>
            <p:cNvPr id="41" name="Picture 8">
              <a:extLst>
                <a:ext uri="{FF2B5EF4-FFF2-40B4-BE49-F238E27FC236}">
                  <a16:creationId xmlns:a16="http://schemas.microsoft.com/office/drawing/2014/main" id="{64514471-9F92-4909-A2A5-050134E858F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" y="489473"/>
              <a:ext cx="7372701" cy="462579"/>
            </a:xfrm>
            <a:prstGeom prst="rect">
              <a:avLst/>
            </a:prstGeom>
          </p:spPr>
        </p:pic>
      </p:grpSp>
      <p:sp>
        <p:nvSpPr>
          <p:cNvPr id="43" name="Título 4">
            <a:extLst>
              <a:ext uri="{FF2B5EF4-FFF2-40B4-BE49-F238E27FC236}">
                <a16:creationId xmlns:a16="http://schemas.microsoft.com/office/drawing/2014/main" id="{80AB1694-3A06-4BF3-9310-3ECBC9D830B3}"/>
              </a:ext>
            </a:extLst>
          </p:cNvPr>
          <p:cNvSpPr txBox="1">
            <a:spLocks/>
          </p:cNvSpPr>
          <p:nvPr/>
        </p:nvSpPr>
        <p:spPr>
          <a:xfrm>
            <a:off x="214498" y="345638"/>
            <a:ext cx="8954546" cy="46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ENERAL ARRANGEMENT </a:t>
            </a:r>
            <a:r>
              <a:rPr lang="en-US" sz="3200" dirty="0">
                <a:solidFill>
                  <a:srgbClr val="07606E">
                    <a:lumMod val="60000"/>
                    <a:lumOff val="40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OVERVIEW</a:t>
            </a: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1" name="Imagen 50">
            <a:extLst>
              <a:ext uri="{FF2B5EF4-FFF2-40B4-BE49-F238E27FC236}">
                <a16:creationId xmlns:a16="http://schemas.microsoft.com/office/drawing/2014/main" id="{6E4F2146-125B-CDA7-E1FD-D2B9B1DABA4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0" t="2408" r="5006" b="42908"/>
          <a:stretch/>
        </p:blipFill>
        <p:spPr>
          <a:xfrm>
            <a:off x="1128678" y="1131450"/>
            <a:ext cx="8871772" cy="3056822"/>
          </a:xfrm>
          <a:prstGeom prst="rect">
            <a:avLst/>
          </a:prstGeom>
        </p:spPr>
      </p:pic>
      <p:sp>
        <p:nvSpPr>
          <p:cNvPr id="52" name="CuadroTexto 51">
            <a:extLst>
              <a:ext uri="{FF2B5EF4-FFF2-40B4-BE49-F238E27FC236}">
                <a16:creationId xmlns:a16="http://schemas.microsoft.com/office/drawing/2014/main" id="{2DCF6175-2A9E-E53B-3A31-E6EC16B3CB37}"/>
              </a:ext>
            </a:extLst>
          </p:cNvPr>
          <p:cNvSpPr txBox="1"/>
          <p:nvPr/>
        </p:nvSpPr>
        <p:spPr>
          <a:xfrm>
            <a:off x="561931" y="1912976"/>
            <a:ext cx="2341856" cy="5232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9D8661"/>
                </a:solidFill>
                <a:effectLst/>
                <a:uLnTx/>
                <a:uFillTx/>
                <a:latin typeface="NSimSun" panose="02010609030101010101" pitchFamily="49" charset="-122"/>
                <a:ea typeface="NSimSun" panose="02010609030101010101" pitchFamily="49" charset="-122"/>
                <a:cs typeface="+mn-cs"/>
              </a:rPr>
              <a:t>Electric Propulsion Motor </a:t>
            </a:r>
          </a:p>
        </p:txBody>
      </p:sp>
      <p:cxnSp>
        <p:nvCxnSpPr>
          <p:cNvPr id="53" name="Conector: angular 52">
            <a:extLst>
              <a:ext uri="{FF2B5EF4-FFF2-40B4-BE49-F238E27FC236}">
                <a16:creationId xmlns:a16="http://schemas.microsoft.com/office/drawing/2014/main" id="{BBFC2C12-017D-793A-8A85-1445097A1E58}"/>
              </a:ext>
            </a:extLst>
          </p:cNvPr>
          <p:cNvCxnSpPr>
            <a:cxnSpLocks/>
          </p:cNvCxnSpPr>
          <p:nvPr/>
        </p:nvCxnSpPr>
        <p:spPr>
          <a:xfrm rot="16200000" flipH="1">
            <a:off x="1794676" y="2545653"/>
            <a:ext cx="969846" cy="623997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37A5FF"/>
            </a:solidFill>
            <a:prstDash val="dash"/>
            <a:round/>
            <a:headEnd type="none" w="med" len="med"/>
            <a:tailEnd type="diamond" w="lg" len="lg"/>
          </a:ln>
          <a:effectLst/>
        </p:spPr>
      </p:cxnSp>
      <p:cxnSp>
        <p:nvCxnSpPr>
          <p:cNvPr id="54" name="Conector: angular 53">
            <a:extLst>
              <a:ext uri="{FF2B5EF4-FFF2-40B4-BE49-F238E27FC236}">
                <a16:creationId xmlns:a16="http://schemas.microsoft.com/office/drawing/2014/main" id="{3C9A4196-9738-94B3-12CE-B8ABC435394E}"/>
              </a:ext>
            </a:extLst>
          </p:cNvPr>
          <p:cNvCxnSpPr>
            <a:cxnSpLocks/>
            <a:stCxn id="55" idx="0"/>
          </p:cNvCxnSpPr>
          <p:nvPr/>
        </p:nvCxnSpPr>
        <p:spPr>
          <a:xfrm rot="5400000" flipH="1" flipV="1">
            <a:off x="1710808" y="3929156"/>
            <a:ext cx="1492690" cy="1037324"/>
          </a:xfrm>
          <a:prstGeom prst="bentConnector3">
            <a:avLst>
              <a:gd name="adj1" fmla="val 19708"/>
            </a:avLst>
          </a:prstGeom>
          <a:noFill/>
          <a:ln w="12700" cap="flat" cmpd="sng" algn="ctr">
            <a:solidFill>
              <a:srgbClr val="37A5FF"/>
            </a:solidFill>
            <a:prstDash val="dash"/>
            <a:round/>
            <a:headEnd type="none" w="med" len="med"/>
            <a:tailEnd type="diamond" w="lg" len="lg"/>
          </a:ln>
          <a:effectLst/>
        </p:spPr>
      </p:cxnSp>
      <p:sp>
        <p:nvSpPr>
          <p:cNvPr id="55" name="CuadroTexto 54">
            <a:extLst>
              <a:ext uri="{FF2B5EF4-FFF2-40B4-BE49-F238E27FC236}">
                <a16:creationId xmlns:a16="http://schemas.microsoft.com/office/drawing/2014/main" id="{A1145AAD-F96F-70D2-E02C-443B55136631}"/>
              </a:ext>
            </a:extLst>
          </p:cNvPr>
          <p:cNvSpPr txBox="1"/>
          <p:nvPr/>
        </p:nvSpPr>
        <p:spPr>
          <a:xfrm>
            <a:off x="767563" y="5194163"/>
            <a:ext cx="2341856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9D8661"/>
                </a:solidFill>
                <a:effectLst/>
                <a:uLnTx/>
                <a:uFillTx/>
                <a:latin typeface="NSimSun" panose="02010609030101010101" pitchFamily="49" charset="-122"/>
                <a:ea typeface="NSimSun" panose="02010609030101010101" pitchFamily="49" charset="-122"/>
                <a:cs typeface="+mn-cs"/>
              </a:rPr>
              <a:t>Aft Batteries</a:t>
            </a: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4596E164-3A99-2FC3-B18C-800C05FFD1DA}"/>
              </a:ext>
            </a:extLst>
          </p:cNvPr>
          <p:cNvSpPr txBox="1"/>
          <p:nvPr/>
        </p:nvSpPr>
        <p:spPr>
          <a:xfrm>
            <a:off x="1764312" y="1437649"/>
            <a:ext cx="2341856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9D8661"/>
                </a:solidFill>
                <a:effectLst/>
                <a:uLnTx/>
                <a:uFillTx/>
                <a:latin typeface="NSimSun" panose="02010609030101010101" pitchFamily="49" charset="-122"/>
                <a:ea typeface="NSimSun" panose="02010609030101010101" pitchFamily="49" charset="-122"/>
                <a:cs typeface="+mn-cs"/>
              </a:rPr>
              <a:t>Diesel Engines</a:t>
            </a:r>
          </a:p>
        </p:txBody>
      </p:sp>
      <p:cxnSp>
        <p:nvCxnSpPr>
          <p:cNvPr id="57" name="Conector recto 56">
            <a:extLst>
              <a:ext uri="{FF2B5EF4-FFF2-40B4-BE49-F238E27FC236}">
                <a16:creationId xmlns:a16="http://schemas.microsoft.com/office/drawing/2014/main" id="{E446A10F-2D52-C1B3-2840-08C01C9DE652}"/>
              </a:ext>
            </a:extLst>
          </p:cNvPr>
          <p:cNvCxnSpPr>
            <a:cxnSpLocks/>
            <a:stCxn id="56" idx="2"/>
          </p:cNvCxnSpPr>
          <p:nvPr/>
        </p:nvCxnSpPr>
        <p:spPr>
          <a:xfrm>
            <a:off x="2935240" y="1745426"/>
            <a:ext cx="76992" cy="1526570"/>
          </a:xfrm>
          <a:prstGeom prst="line">
            <a:avLst/>
          </a:prstGeom>
          <a:noFill/>
          <a:ln w="12700" cap="flat" cmpd="sng" algn="ctr">
            <a:solidFill>
              <a:srgbClr val="37A5FF"/>
            </a:solidFill>
            <a:prstDash val="dash"/>
            <a:round/>
            <a:headEnd type="none" w="med" len="med"/>
            <a:tailEnd type="diamond" w="lg" len="lg"/>
          </a:ln>
          <a:effectLst/>
        </p:spPr>
      </p:cxnSp>
      <p:sp>
        <p:nvSpPr>
          <p:cNvPr id="58" name="CuadroTexto 57">
            <a:extLst>
              <a:ext uri="{FF2B5EF4-FFF2-40B4-BE49-F238E27FC236}">
                <a16:creationId xmlns:a16="http://schemas.microsoft.com/office/drawing/2014/main" id="{BAF866A1-74C6-48CF-8094-C57BB8E1008A}"/>
              </a:ext>
            </a:extLst>
          </p:cNvPr>
          <p:cNvSpPr txBox="1"/>
          <p:nvPr/>
        </p:nvSpPr>
        <p:spPr>
          <a:xfrm>
            <a:off x="3347484" y="2345875"/>
            <a:ext cx="2341856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9D8661"/>
                </a:solidFill>
                <a:effectLst/>
                <a:uLnTx/>
                <a:uFillTx/>
                <a:latin typeface="NSimSun" panose="02010609030101010101" pitchFamily="49" charset="-122"/>
                <a:ea typeface="NSimSun" panose="02010609030101010101" pitchFamily="49" charset="-122"/>
                <a:cs typeface="+mn-cs"/>
              </a:rPr>
              <a:t>AIP System</a:t>
            </a:r>
          </a:p>
        </p:txBody>
      </p:sp>
      <p:cxnSp>
        <p:nvCxnSpPr>
          <p:cNvPr id="59" name="Conector recto 58">
            <a:extLst>
              <a:ext uri="{FF2B5EF4-FFF2-40B4-BE49-F238E27FC236}">
                <a16:creationId xmlns:a16="http://schemas.microsoft.com/office/drawing/2014/main" id="{7F741BAA-14B7-9A8A-8860-82082170F399}"/>
              </a:ext>
            </a:extLst>
          </p:cNvPr>
          <p:cNvCxnSpPr>
            <a:cxnSpLocks/>
            <a:stCxn id="58" idx="2"/>
          </p:cNvCxnSpPr>
          <p:nvPr/>
        </p:nvCxnSpPr>
        <p:spPr>
          <a:xfrm>
            <a:off x="4518412" y="2653652"/>
            <a:ext cx="0" cy="603292"/>
          </a:xfrm>
          <a:prstGeom prst="line">
            <a:avLst/>
          </a:prstGeom>
          <a:noFill/>
          <a:ln w="12700" cap="flat" cmpd="sng" algn="ctr">
            <a:solidFill>
              <a:srgbClr val="37A5FF"/>
            </a:solidFill>
            <a:prstDash val="dash"/>
            <a:round/>
            <a:headEnd type="none" w="med" len="med"/>
            <a:tailEnd type="diamond" w="lg" len="lg"/>
          </a:ln>
          <a:effectLst/>
        </p:spPr>
      </p:cxnSp>
      <p:cxnSp>
        <p:nvCxnSpPr>
          <p:cNvPr id="60" name="Conector: angular 59">
            <a:extLst>
              <a:ext uri="{FF2B5EF4-FFF2-40B4-BE49-F238E27FC236}">
                <a16:creationId xmlns:a16="http://schemas.microsoft.com/office/drawing/2014/main" id="{0BCE1FAE-9231-9F2B-8462-FF0C1C6E258E}"/>
              </a:ext>
            </a:extLst>
          </p:cNvPr>
          <p:cNvCxnSpPr>
            <a:cxnSpLocks/>
            <a:stCxn id="61" idx="0"/>
          </p:cNvCxnSpPr>
          <p:nvPr/>
        </p:nvCxnSpPr>
        <p:spPr>
          <a:xfrm rot="16200000" flipV="1">
            <a:off x="3574836" y="4047700"/>
            <a:ext cx="1849584" cy="97919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37A5FF"/>
            </a:solidFill>
            <a:prstDash val="dash"/>
            <a:round/>
            <a:headEnd type="none" w="med" len="med"/>
            <a:tailEnd type="diamond" w="lg" len="lg"/>
          </a:ln>
          <a:effectLst/>
        </p:spPr>
      </p:cxnSp>
      <p:sp>
        <p:nvSpPr>
          <p:cNvPr id="61" name="CuadroTexto 60">
            <a:extLst>
              <a:ext uri="{FF2B5EF4-FFF2-40B4-BE49-F238E27FC236}">
                <a16:creationId xmlns:a16="http://schemas.microsoft.com/office/drawing/2014/main" id="{93899DE3-C148-CFB9-13C7-9CC3BD7B5B42}"/>
              </a:ext>
            </a:extLst>
          </p:cNvPr>
          <p:cNvSpPr txBox="1"/>
          <p:nvPr/>
        </p:nvSpPr>
        <p:spPr>
          <a:xfrm>
            <a:off x="3818296" y="5462088"/>
            <a:ext cx="2341856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9D8661"/>
                </a:solidFill>
                <a:effectLst/>
                <a:uLnTx/>
                <a:uFillTx/>
                <a:latin typeface="NSimSun" panose="02010609030101010101" pitchFamily="49" charset="-122"/>
                <a:ea typeface="NSimSun" panose="02010609030101010101" pitchFamily="49" charset="-122"/>
                <a:cs typeface="+mn-cs"/>
              </a:rPr>
              <a:t>LOX and Bioethanol tanks</a:t>
            </a:r>
          </a:p>
        </p:txBody>
      </p:sp>
      <p:cxnSp>
        <p:nvCxnSpPr>
          <p:cNvPr id="62" name="Conector: angular 61">
            <a:extLst>
              <a:ext uri="{FF2B5EF4-FFF2-40B4-BE49-F238E27FC236}">
                <a16:creationId xmlns:a16="http://schemas.microsoft.com/office/drawing/2014/main" id="{2AD32C62-C763-75A5-2303-7D9232AC9995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368552" y="4668380"/>
            <a:ext cx="2000335" cy="397850"/>
          </a:xfrm>
          <a:prstGeom prst="bentConnector3">
            <a:avLst>
              <a:gd name="adj1" fmla="val 32418"/>
            </a:avLst>
          </a:prstGeom>
          <a:noFill/>
          <a:ln w="12700" cap="flat" cmpd="sng" algn="ctr">
            <a:solidFill>
              <a:srgbClr val="37A5FF"/>
            </a:solidFill>
            <a:prstDash val="dash"/>
            <a:round/>
            <a:headEnd type="none" w="med" len="med"/>
            <a:tailEnd type="diamond" w="lg" len="lg"/>
          </a:ln>
          <a:effectLst/>
        </p:spPr>
      </p:cxnSp>
      <p:sp>
        <p:nvSpPr>
          <p:cNvPr id="63" name="CuadroTexto 62">
            <a:extLst>
              <a:ext uri="{FF2B5EF4-FFF2-40B4-BE49-F238E27FC236}">
                <a16:creationId xmlns:a16="http://schemas.microsoft.com/office/drawing/2014/main" id="{8E269F4A-52DB-FA50-282E-7FFCB7F3B3ED}"/>
              </a:ext>
            </a:extLst>
          </p:cNvPr>
          <p:cNvSpPr txBox="1"/>
          <p:nvPr/>
        </p:nvSpPr>
        <p:spPr>
          <a:xfrm>
            <a:off x="1998866" y="5990152"/>
            <a:ext cx="2341856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9D8661"/>
                </a:solidFill>
                <a:effectLst/>
                <a:uLnTx/>
                <a:uFillTx/>
                <a:latin typeface="NSimSun" panose="02010609030101010101" pitchFamily="49" charset="-122"/>
                <a:ea typeface="NSimSun" panose="02010609030101010101" pitchFamily="49" charset="-122"/>
                <a:cs typeface="+mn-cs"/>
              </a:rPr>
              <a:t>Cofferdam</a:t>
            </a:r>
          </a:p>
        </p:txBody>
      </p:sp>
      <p:sp>
        <p:nvSpPr>
          <p:cNvPr id="64" name="CuadroTexto 63">
            <a:extLst>
              <a:ext uri="{FF2B5EF4-FFF2-40B4-BE49-F238E27FC236}">
                <a16:creationId xmlns:a16="http://schemas.microsoft.com/office/drawing/2014/main" id="{2975761C-8C17-8297-5F23-923F6DB00CF3}"/>
              </a:ext>
            </a:extLst>
          </p:cNvPr>
          <p:cNvSpPr txBox="1"/>
          <p:nvPr/>
        </p:nvSpPr>
        <p:spPr>
          <a:xfrm>
            <a:off x="3249095" y="832714"/>
            <a:ext cx="1794923" cy="5232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9D8661"/>
                </a:solidFill>
                <a:effectLst/>
                <a:uLnTx/>
                <a:uFillTx/>
                <a:latin typeface="NSimSun" panose="02010609030101010101" pitchFamily="49" charset="-122"/>
                <a:ea typeface="NSimSun" panose="02010609030101010101" pitchFamily="49" charset="-122"/>
                <a:cs typeface="+mn-cs"/>
              </a:rPr>
              <a:t>DSRV Platform and Escape Trunk</a:t>
            </a:r>
          </a:p>
        </p:txBody>
      </p:sp>
      <p:cxnSp>
        <p:nvCxnSpPr>
          <p:cNvPr id="65" name="Conector: angular 64">
            <a:extLst>
              <a:ext uri="{FF2B5EF4-FFF2-40B4-BE49-F238E27FC236}">
                <a16:creationId xmlns:a16="http://schemas.microsoft.com/office/drawing/2014/main" id="{98284ADD-0527-0E2A-B0B3-6A257C8CF54C}"/>
              </a:ext>
            </a:extLst>
          </p:cNvPr>
          <p:cNvCxnSpPr>
            <a:cxnSpLocks/>
          </p:cNvCxnSpPr>
          <p:nvPr/>
        </p:nvCxnSpPr>
        <p:spPr>
          <a:xfrm rot="5400000">
            <a:off x="3076692" y="2027941"/>
            <a:ext cx="1561325" cy="63586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37A5FF"/>
            </a:solidFill>
            <a:prstDash val="dash"/>
            <a:round/>
            <a:headEnd type="none" w="med" len="med"/>
            <a:tailEnd type="diamond" w="lg" len="lg"/>
          </a:ln>
          <a:effectLst/>
        </p:spPr>
      </p:cxnSp>
      <p:sp>
        <p:nvSpPr>
          <p:cNvPr id="66" name="CuadroTexto 65">
            <a:extLst>
              <a:ext uri="{FF2B5EF4-FFF2-40B4-BE49-F238E27FC236}">
                <a16:creationId xmlns:a16="http://schemas.microsoft.com/office/drawing/2014/main" id="{B8CE1C7D-5CBC-00E6-B735-352CD350AE5C}"/>
              </a:ext>
            </a:extLst>
          </p:cNvPr>
          <p:cNvSpPr txBox="1"/>
          <p:nvPr/>
        </p:nvSpPr>
        <p:spPr>
          <a:xfrm>
            <a:off x="6296714" y="1425834"/>
            <a:ext cx="1794923" cy="5232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9D8661"/>
                </a:solidFill>
                <a:effectLst/>
                <a:uLnTx/>
                <a:uFillTx/>
                <a:latin typeface="NSimSun" panose="02010609030101010101" pitchFamily="49" charset="-122"/>
                <a:ea typeface="NSimSun" panose="02010609030101010101" pitchFamily="49" charset="-122"/>
                <a:cs typeface="+mn-cs"/>
              </a:rPr>
              <a:t>Command and Control</a:t>
            </a:r>
          </a:p>
        </p:txBody>
      </p:sp>
      <p:cxnSp>
        <p:nvCxnSpPr>
          <p:cNvPr id="67" name="Conector: angular 66">
            <a:extLst>
              <a:ext uri="{FF2B5EF4-FFF2-40B4-BE49-F238E27FC236}">
                <a16:creationId xmlns:a16="http://schemas.microsoft.com/office/drawing/2014/main" id="{236388D5-50AE-731F-5ECD-3BE5F3F08816}"/>
              </a:ext>
            </a:extLst>
          </p:cNvPr>
          <p:cNvCxnSpPr>
            <a:cxnSpLocks/>
            <a:stCxn id="66" idx="2"/>
          </p:cNvCxnSpPr>
          <p:nvPr/>
        </p:nvCxnSpPr>
        <p:spPr>
          <a:xfrm rot="5400000">
            <a:off x="5720342" y="1793276"/>
            <a:ext cx="1318056" cy="1629612"/>
          </a:xfrm>
          <a:prstGeom prst="bentConnector2">
            <a:avLst/>
          </a:prstGeom>
          <a:noFill/>
          <a:ln w="12700" cap="flat" cmpd="sng" algn="ctr">
            <a:solidFill>
              <a:srgbClr val="37A5FF"/>
            </a:solidFill>
            <a:prstDash val="dash"/>
            <a:round/>
            <a:headEnd type="none" w="med" len="med"/>
            <a:tailEnd type="diamond" w="lg" len="lg"/>
          </a:ln>
          <a:effectLst/>
        </p:spPr>
      </p:cxnSp>
      <p:sp>
        <p:nvSpPr>
          <p:cNvPr id="68" name="CuadroTexto 67">
            <a:extLst>
              <a:ext uri="{FF2B5EF4-FFF2-40B4-BE49-F238E27FC236}">
                <a16:creationId xmlns:a16="http://schemas.microsoft.com/office/drawing/2014/main" id="{80AACC2C-CA7D-2DDB-CF27-8ACB8BFA4B2B}"/>
              </a:ext>
            </a:extLst>
          </p:cNvPr>
          <p:cNvSpPr txBox="1"/>
          <p:nvPr/>
        </p:nvSpPr>
        <p:spPr>
          <a:xfrm>
            <a:off x="6874204" y="2126966"/>
            <a:ext cx="2341856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9D8661"/>
                </a:solidFill>
                <a:effectLst/>
                <a:uLnTx/>
                <a:uFillTx/>
                <a:latin typeface="NSimSun" panose="02010609030101010101" pitchFamily="49" charset="-122"/>
                <a:ea typeface="NSimSun" panose="02010609030101010101" pitchFamily="49" charset="-122"/>
                <a:cs typeface="+mn-cs"/>
              </a:rPr>
              <a:t>Accommodation</a:t>
            </a:r>
          </a:p>
        </p:txBody>
      </p:sp>
      <p:cxnSp>
        <p:nvCxnSpPr>
          <p:cNvPr id="69" name="Conector recto 68">
            <a:extLst>
              <a:ext uri="{FF2B5EF4-FFF2-40B4-BE49-F238E27FC236}">
                <a16:creationId xmlns:a16="http://schemas.microsoft.com/office/drawing/2014/main" id="{CC81FAF3-AA04-2850-797E-46652306C9FA}"/>
              </a:ext>
            </a:extLst>
          </p:cNvPr>
          <p:cNvCxnSpPr>
            <a:cxnSpLocks/>
            <a:stCxn id="68" idx="2"/>
          </p:cNvCxnSpPr>
          <p:nvPr/>
        </p:nvCxnSpPr>
        <p:spPr>
          <a:xfrm flipH="1">
            <a:off x="7581406" y="2434743"/>
            <a:ext cx="463726" cy="869984"/>
          </a:xfrm>
          <a:prstGeom prst="line">
            <a:avLst/>
          </a:prstGeom>
          <a:noFill/>
          <a:ln w="12700" cap="flat" cmpd="sng" algn="ctr">
            <a:solidFill>
              <a:srgbClr val="37A5FF"/>
            </a:solidFill>
            <a:prstDash val="dash"/>
            <a:round/>
            <a:headEnd type="none" w="med" len="med"/>
            <a:tailEnd type="diamond" w="lg" len="lg"/>
          </a:ln>
          <a:effectLst/>
        </p:spPr>
      </p:cxnSp>
      <p:cxnSp>
        <p:nvCxnSpPr>
          <p:cNvPr id="70" name="Conector: angular 69">
            <a:extLst>
              <a:ext uri="{FF2B5EF4-FFF2-40B4-BE49-F238E27FC236}">
                <a16:creationId xmlns:a16="http://schemas.microsoft.com/office/drawing/2014/main" id="{5DD317FC-F132-9963-EAAB-DD55FCA4E649}"/>
              </a:ext>
            </a:extLst>
          </p:cNvPr>
          <p:cNvCxnSpPr>
            <a:cxnSpLocks/>
            <a:stCxn id="71" idx="0"/>
          </p:cNvCxnSpPr>
          <p:nvPr/>
        </p:nvCxnSpPr>
        <p:spPr>
          <a:xfrm rot="16200000" flipV="1">
            <a:off x="7435900" y="3956777"/>
            <a:ext cx="1030857" cy="786365"/>
          </a:xfrm>
          <a:prstGeom prst="bentConnector3">
            <a:avLst/>
          </a:prstGeom>
          <a:noFill/>
          <a:ln w="12700" cap="flat" cmpd="sng" algn="ctr">
            <a:solidFill>
              <a:srgbClr val="37A5FF"/>
            </a:solidFill>
            <a:prstDash val="dash"/>
            <a:round/>
            <a:headEnd type="none" w="med" len="med"/>
            <a:tailEnd type="diamond" w="lg" len="lg"/>
          </a:ln>
          <a:effectLst/>
        </p:spPr>
      </p:cxnSp>
      <p:sp>
        <p:nvSpPr>
          <p:cNvPr id="71" name="CuadroTexto 70">
            <a:extLst>
              <a:ext uri="{FF2B5EF4-FFF2-40B4-BE49-F238E27FC236}">
                <a16:creationId xmlns:a16="http://schemas.microsoft.com/office/drawing/2014/main" id="{A093435A-3DCA-9FCD-2E76-3E121A14EBD2}"/>
              </a:ext>
            </a:extLst>
          </p:cNvPr>
          <p:cNvSpPr txBox="1"/>
          <p:nvPr/>
        </p:nvSpPr>
        <p:spPr>
          <a:xfrm>
            <a:off x="7173582" y="4865388"/>
            <a:ext cx="2341856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9D8661"/>
                </a:solidFill>
                <a:effectLst/>
                <a:uLnTx/>
                <a:uFillTx/>
                <a:latin typeface="NSimSun" panose="02010609030101010101" pitchFamily="49" charset="-122"/>
                <a:ea typeface="NSimSun" panose="02010609030101010101" pitchFamily="49" charset="-122"/>
                <a:cs typeface="+mn-cs"/>
              </a:rPr>
              <a:t>Fore Batteries</a:t>
            </a:r>
          </a:p>
        </p:txBody>
      </p:sp>
      <p:sp>
        <p:nvSpPr>
          <p:cNvPr id="72" name="CuadroTexto 71">
            <a:extLst>
              <a:ext uri="{FF2B5EF4-FFF2-40B4-BE49-F238E27FC236}">
                <a16:creationId xmlns:a16="http://schemas.microsoft.com/office/drawing/2014/main" id="{96C37C7B-944A-720D-C3D0-ADA214213865}"/>
              </a:ext>
            </a:extLst>
          </p:cNvPr>
          <p:cNvSpPr txBox="1"/>
          <p:nvPr/>
        </p:nvSpPr>
        <p:spPr>
          <a:xfrm>
            <a:off x="8318598" y="1364013"/>
            <a:ext cx="1794923" cy="73866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9D8661"/>
                </a:solidFill>
                <a:effectLst/>
                <a:uLnTx/>
                <a:uFillTx/>
                <a:latin typeface="NSimSun" panose="02010609030101010101" pitchFamily="49" charset="-122"/>
                <a:ea typeface="NSimSun" panose="02010609030101010101" pitchFamily="49" charset="-122"/>
                <a:cs typeface="+mn-cs"/>
              </a:rPr>
              <a:t>Weapons Handling and Discharge System</a:t>
            </a:r>
          </a:p>
        </p:txBody>
      </p:sp>
      <p:cxnSp>
        <p:nvCxnSpPr>
          <p:cNvPr id="73" name="Conector: angular 72">
            <a:extLst>
              <a:ext uri="{FF2B5EF4-FFF2-40B4-BE49-F238E27FC236}">
                <a16:creationId xmlns:a16="http://schemas.microsoft.com/office/drawing/2014/main" id="{69404237-A30A-881C-AC1C-1FCADBDD3BEC}"/>
              </a:ext>
            </a:extLst>
          </p:cNvPr>
          <p:cNvCxnSpPr>
            <a:cxnSpLocks/>
            <a:stCxn id="72" idx="2"/>
          </p:cNvCxnSpPr>
          <p:nvPr/>
        </p:nvCxnSpPr>
        <p:spPr>
          <a:xfrm rot="5400000">
            <a:off x="8438633" y="2354490"/>
            <a:ext cx="1029240" cy="525614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37A5FF"/>
            </a:solidFill>
            <a:prstDash val="dash"/>
            <a:round/>
            <a:headEnd type="none" w="med" len="med"/>
            <a:tailEnd type="diamond" w="lg" len="lg"/>
          </a:ln>
          <a:effectLst/>
        </p:spPr>
      </p:cxnSp>
      <p:cxnSp>
        <p:nvCxnSpPr>
          <p:cNvPr id="74" name="Conector: angular 73">
            <a:extLst>
              <a:ext uri="{FF2B5EF4-FFF2-40B4-BE49-F238E27FC236}">
                <a16:creationId xmlns:a16="http://schemas.microsoft.com/office/drawing/2014/main" id="{98506088-AB52-B102-ECF8-AB8E4D969147}"/>
              </a:ext>
            </a:extLst>
          </p:cNvPr>
          <p:cNvCxnSpPr>
            <a:cxnSpLocks/>
          </p:cNvCxnSpPr>
          <p:nvPr/>
        </p:nvCxnSpPr>
        <p:spPr>
          <a:xfrm rot="16200000" flipV="1">
            <a:off x="9004424" y="3969276"/>
            <a:ext cx="677245" cy="348005"/>
          </a:xfrm>
          <a:prstGeom prst="bentConnector3">
            <a:avLst/>
          </a:prstGeom>
          <a:noFill/>
          <a:ln w="12700" cap="flat" cmpd="sng" algn="ctr">
            <a:solidFill>
              <a:srgbClr val="37A5FF"/>
            </a:solidFill>
            <a:prstDash val="dash"/>
            <a:round/>
            <a:headEnd type="none" w="med" len="med"/>
            <a:tailEnd type="diamond" w="lg" len="lg"/>
          </a:ln>
          <a:effectLst/>
        </p:spPr>
      </p:cxnSp>
      <p:sp>
        <p:nvSpPr>
          <p:cNvPr id="75" name="CuadroTexto 74">
            <a:extLst>
              <a:ext uri="{FF2B5EF4-FFF2-40B4-BE49-F238E27FC236}">
                <a16:creationId xmlns:a16="http://schemas.microsoft.com/office/drawing/2014/main" id="{383DFF63-8D99-3EE9-85B3-5180FE238000}"/>
              </a:ext>
            </a:extLst>
          </p:cNvPr>
          <p:cNvSpPr txBox="1"/>
          <p:nvPr/>
        </p:nvSpPr>
        <p:spPr>
          <a:xfrm>
            <a:off x="8420354" y="4386414"/>
            <a:ext cx="2341856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9D8661"/>
                </a:solidFill>
                <a:effectLst/>
                <a:uLnTx/>
                <a:uFillTx/>
                <a:latin typeface="NSimSun" panose="02010609030101010101" pitchFamily="49" charset="-122"/>
                <a:ea typeface="NSimSun" panose="02010609030101010101" pitchFamily="49" charset="-122"/>
                <a:cs typeface="+mn-cs"/>
              </a:rPr>
              <a:t>Sonar arrays</a:t>
            </a:r>
          </a:p>
        </p:txBody>
      </p:sp>
      <p:cxnSp>
        <p:nvCxnSpPr>
          <p:cNvPr id="76" name="Conector: angular 75">
            <a:extLst>
              <a:ext uri="{FF2B5EF4-FFF2-40B4-BE49-F238E27FC236}">
                <a16:creationId xmlns:a16="http://schemas.microsoft.com/office/drawing/2014/main" id="{71EDEDB6-8A36-B847-28C8-A08FA4DF0D3A}"/>
              </a:ext>
            </a:extLst>
          </p:cNvPr>
          <p:cNvCxnSpPr>
            <a:cxnSpLocks/>
            <a:stCxn id="77" idx="0"/>
          </p:cNvCxnSpPr>
          <p:nvPr/>
        </p:nvCxnSpPr>
        <p:spPr>
          <a:xfrm rot="16200000" flipV="1">
            <a:off x="5449040" y="3954983"/>
            <a:ext cx="1098782" cy="777573"/>
          </a:xfrm>
          <a:prstGeom prst="bentConnector3">
            <a:avLst/>
          </a:prstGeom>
          <a:noFill/>
          <a:ln w="12700" cap="flat" cmpd="sng" algn="ctr">
            <a:solidFill>
              <a:srgbClr val="37A5FF"/>
            </a:solidFill>
            <a:prstDash val="dash"/>
            <a:round/>
            <a:headEnd type="none" w="med" len="med"/>
            <a:tailEnd type="diamond" w="lg" len="lg"/>
          </a:ln>
          <a:effectLst/>
        </p:spPr>
      </p:cxnSp>
      <p:sp>
        <p:nvSpPr>
          <p:cNvPr id="77" name="CuadroTexto 76">
            <a:extLst>
              <a:ext uri="{FF2B5EF4-FFF2-40B4-BE49-F238E27FC236}">
                <a16:creationId xmlns:a16="http://schemas.microsoft.com/office/drawing/2014/main" id="{0523F059-04A6-839E-3D36-8E117E9D0B2C}"/>
              </a:ext>
            </a:extLst>
          </p:cNvPr>
          <p:cNvSpPr txBox="1"/>
          <p:nvPr/>
        </p:nvSpPr>
        <p:spPr>
          <a:xfrm>
            <a:off x="5216289" y="4893161"/>
            <a:ext cx="2341856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9D8661"/>
                </a:solidFill>
                <a:effectLst/>
                <a:uLnTx/>
                <a:uFillTx/>
                <a:latin typeface="NSimSun" panose="02010609030101010101" pitchFamily="49" charset="-122"/>
                <a:ea typeface="NSimSun" panose="02010609030101010101" pitchFamily="49" charset="-122"/>
                <a:cs typeface="+mn-cs"/>
              </a:rPr>
              <a:t>Auxiliaries' rooms</a:t>
            </a:r>
          </a:p>
        </p:txBody>
      </p:sp>
      <p:cxnSp>
        <p:nvCxnSpPr>
          <p:cNvPr id="78" name="Conector: angular 77">
            <a:extLst>
              <a:ext uri="{FF2B5EF4-FFF2-40B4-BE49-F238E27FC236}">
                <a16:creationId xmlns:a16="http://schemas.microsoft.com/office/drawing/2014/main" id="{7C9BE7AB-30A1-9266-2F9F-4F2FAFB54CDD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940078" y="3594192"/>
            <a:ext cx="1524148" cy="15904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37A5FF"/>
            </a:solidFill>
            <a:prstDash val="dash"/>
            <a:round/>
            <a:headEnd type="none" w="med" len="med"/>
            <a:tailEnd type="diamond" w="lg" len="lg"/>
          </a:ln>
          <a:effectLst/>
        </p:spPr>
      </p:cxnSp>
      <p:sp>
        <p:nvSpPr>
          <p:cNvPr id="79" name="CuadroTexto 78">
            <a:extLst>
              <a:ext uri="{FF2B5EF4-FFF2-40B4-BE49-F238E27FC236}">
                <a16:creationId xmlns:a16="http://schemas.microsoft.com/office/drawing/2014/main" id="{DFEB017A-0450-92EE-87AA-D2E7EBFA07E9}"/>
              </a:ext>
            </a:extLst>
          </p:cNvPr>
          <p:cNvSpPr txBox="1"/>
          <p:nvPr/>
        </p:nvSpPr>
        <p:spPr>
          <a:xfrm>
            <a:off x="859299" y="4298415"/>
            <a:ext cx="1429024" cy="5232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9D8661"/>
                </a:solidFill>
                <a:effectLst/>
                <a:uLnTx/>
                <a:uFillTx/>
                <a:latin typeface="NSimSun" panose="02010609030101010101" pitchFamily="49" charset="-122"/>
                <a:ea typeface="NSimSun" panose="02010609030101010101" pitchFamily="49" charset="-122"/>
                <a:cs typeface="+mn-cs"/>
              </a:rPr>
              <a:t>Towed Array Sonar</a:t>
            </a:r>
          </a:p>
        </p:txBody>
      </p:sp>
    </p:spTree>
    <p:extLst>
      <p:ext uri="{BB962C8B-B14F-4D97-AF65-F5344CB8AC3E}">
        <p14:creationId xmlns:p14="http://schemas.microsoft.com/office/powerpoint/2010/main" val="21358804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7F97843B-680F-9C66-5B06-0700E0EB3774}"/>
              </a:ext>
            </a:extLst>
          </p:cNvPr>
          <p:cNvSpPr/>
          <p:nvPr/>
        </p:nvSpPr>
        <p:spPr>
          <a:xfrm>
            <a:off x="0" y="0"/>
            <a:ext cx="3097161" cy="7669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Imagen 2" descr="Imagen que contiene luz&#10;&#10;Descripción generada automáticamente">
            <a:extLst>
              <a:ext uri="{FF2B5EF4-FFF2-40B4-BE49-F238E27FC236}">
                <a16:creationId xmlns:a16="http://schemas.microsoft.com/office/drawing/2014/main" id="{C2DFD757-73FB-BDA5-7414-85DCD30196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A5E98141-7135-A68D-D044-39A9A0498861}"/>
              </a:ext>
            </a:extLst>
          </p:cNvPr>
          <p:cNvCxnSpPr>
            <a:cxnSpLocks/>
          </p:cNvCxnSpPr>
          <p:nvPr/>
        </p:nvCxnSpPr>
        <p:spPr>
          <a:xfrm flipH="1">
            <a:off x="3502093" y="3993160"/>
            <a:ext cx="2865151" cy="1110685"/>
          </a:xfrm>
          <a:prstGeom prst="line">
            <a:avLst/>
          </a:prstGeom>
          <a:ln w="19050">
            <a:solidFill>
              <a:schemeClr val="bg1"/>
            </a:solidFill>
            <a:round/>
            <a:headEnd type="oval"/>
            <a:tailEnd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EAD3D4D6-8992-20D8-047C-2B6051F74899}"/>
              </a:ext>
            </a:extLst>
          </p:cNvPr>
          <p:cNvCxnSpPr>
            <a:cxnSpLocks/>
          </p:cNvCxnSpPr>
          <p:nvPr/>
        </p:nvCxnSpPr>
        <p:spPr>
          <a:xfrm flipH="1">
            <a:off x="2205135" y="5097625"/>
            <a:ext cx="1306287" cy="0"/>
          </a:xfrm>
          <a:prstGeom prst="line">
            <a:avLst/>
          </a:prstGeom>
          <a:ln w="19050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uadroTexto 5">
            <a:extLst>
              <a:ext uri="{FF2B5EF4-FFF2-40B4-BE49-F238E27FC236}">
                <a16:creationId xmlns:a16="http://schemas.microsoft.com/office/drawing/2014/main" id="{C548D300-D4C3-249B-4D60-D9684D135F4C}"/>
              </a:ext>
            </a:extLst>
          </p:cNvPr>
          <p:cNvSpPr txBox="1"/>
          <p:nvPr/>
        </p:nvSpPr>
        <p:spPr>
          <a:xfrm>
            <a:off x="2123045" y="4548502"/>
            <a:ext cx="14611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o-Ethanol tanks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B2436B07-4C32-D30E-F457-38F98145ED6F}"/>
              </a:ext>
            </a:extLst>
          </p:cNvPr>
          <p:cNvCxnSpPr>
            <a:cxnSpLocks/>
          </p:cNvCxnSpPr>
          <p:nvPr/>
        </p:nvCxnSpPr>
        <p:spPr>
          <a:xfrm flipH="1">
            <a:off x="4094430" y="1432921"/>
            <a:ext cx="1850208" cy="12011"/>
          </a:xfrm>
          <a:prstGeom prst="line">
            <a:avLst/>
          </a:prstGeom>
          <a:ln w="19050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uadroTexto 7">
            <a:extLst>
              <a:ext uri="{FF2B5EF4-FFF2-40B4-BE49-F238E27FC236}">
                <a16:creationId xmlns:a16="http://schemas.microsoft.com/office/drawing/2014/main" id="{6BE775B0-FB0B-F2F1-4C68-BABEB4DD55C9}"/>
              </a:ext>
            </a:extLst>
          </p:cNvPr>
          <p:cNvSpPr txBox="1"/>
          <p:nvPr/>
        </p:nvSpPr>
        <p:spPr>
          <a:xfrm>
            <a:off x="3804043" y="1108231"/>
            <a:ext cx="18754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IP Power Plant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F15B1240-7CE9-E6AD-8020-B3DA7B47CE13}"/>
              </a:ext>
            </a:extLst>
          </p:cNvPr>
          <p:cNvSpPr txBox="1"/>
          <p:nvPr/>
        </p:nvSpPr>
        <p:spPr>
          <a:xfrm>
            <a:off x="6731628" y="889126"/>
            <a:ext cx="6097596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ES"/>
            </a:defPPr>
            <a:lvl1pPr marL="285750" indent="-285750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GB" sz="14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Fully automated power plant</a:t>
            </a:r>
          </a:p>
          <a:p>
            <a:r>
              <a:rPr lang="en-GB" sz="14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Based on PEM Fuel Cells and fuel reforming</a:t>
            </a:r>
          </a:p>
          <a:p>
            <a:r>
              <a:rPr lang="en-GB" sz="14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Fully integrated on platform systems</a:t>
            </a:r>
          </a:p>
          <a:p>
            <a:r>
              <a:rPr lang="en-GB" sz="14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Safety based on submarine conventional means</a:t>
            </a:r>
            <a:endParaRPr lang="en-GB" dirty="0">
              <a:solidFill>
                <a:schemeClr val="accent4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8F3CC711-CED2-3C98-5866-BAB899E583A8}"/>
              </a:ext>
            </a:extLst>
          </p:cNvPr>
          <p:cNvSpPr txBox="1"/>
          <p:nvPr/>
        </p:nvSpPr>
        <p:spPr>
          <a:xfrm>
            <a:off x="2361641" y="3523369"/>
            <a:ext cx="3857468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accent4">
                    <a:lumMod val="20000"/>
                    <a:lumOff val="8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ructural tan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accent4">
                    <a:lumMod val="20000"/>
                    <a:lumOff val="8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mbient tempera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accent4">
                    <a:lumMod val="20000"/>
                    <a:lumOff val="8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</a:t>
            </a:r>
            <a:r>
              <a:rPr lang="en-GB" sz="1400" baseline="-25000" dirty="0">
                <a:solidFill>
                  <a:schemeClr val="accent4">
                    <a:lumMod val="20000"/>
                    <a:lumOff val="8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 </a:t>
            </a:r>
            <a:r>
              <a:rPr lang="en-GB" sz="1400" dirty="0">
                <a:solidFill>
                  <a:schemeClr val="accent4">
                    <a:lumMod val="20000"/>
                    <a:lumOff val="8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lanke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accent4">
                    <a:lumMod val="20000"/>
                    <a:lumOff val="8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fuelling through logistic hatch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753C73D9-2080-0C93-2134-C1DBD6A1945C}"/>
              </a:ext>
            </a:extLst>
          </p:cNvPr>
          <p:cNvCxnSpPr>
            <a:cxnSpLocks/>
          </p:cNvCxnSpPr>
          <p:nvPr/>
        </p:nvCxnSpPr>
        <p:spPr>
          <a:xfrm>
            <a:off x="7837904" y="4445075"/>
            <a:ext cx="1150319" cy="1000625"/>
          </a:xfrm>
          <a:prstGeom prst="line">
            <a:avLst/>
          </a:prstGeom>
          <a:ln w="19050">
            <a:solidFill>
              <a:schemeClr val="bg1"/>
            </a:solidFill>
            <a:round/>
            <a:headEnd type="oval"/>
            <a:tailEnd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uadroTexto 11">
            <a:extLst>
              <a:ext uri="{FF2B5EF4-FFF2-40B4-BE49-F238E27FC236}">
                <a16:creationId xmlns:a16="http://schemas.microsoft.com/office/drawing/2014/main" id="{333CC4F7-4985-1203-F286-FCA57BCD030B}"/>
              </a:ext>
            </a:extLst>
          </p:cNvPr>
          <p:cNvSpPr txBox="1"/>
          <p:nvPr/>
        </p:nvSpPr>
        <p:spPr>
          <a:xfrm>
            <a:off x="8577986" y="5097625"/>
            <a:ext cx="22400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x </a:t>
            </a:r>
            <a:r>
              <a:rPr lang="es-ES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nk</a:t>
            </a:r>
            <a:endParaRPr lang="es-ES" sz="14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363384D6-6EE3-918C-0044-C37B36814F65}"/>
              </a:ext>
            </a:extLst>
          </p:cNvPr>
          <p:cNvCxnSpPr>
            <a:cxnSpLocks/>
          </p:cNvCxnSpPr>
          <p:nvPr/>
        </p:nvCxnSpPr>
        <p:spPr>
          <a:xfrm flipH="1">
            <a:off x="8982556" y="5445700"/>
            <a:ext cx="159574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1C75A37A-894C-D00E-61FD-F12D18D8BEAA}"/>
              </a:ext>
            </a:extLst>
          </p:cNvPr>
          <p:cNvCxnSpPr>
            <a:cxnSpLocks/>
          </p:cNvCxnSpPr>
          <p:nvPr/>
        </p:nvCxnSpPr>
        <p:spPr>
          <a:xfrm flipH="1" flipV="1">
            <a:off x="5935402" y="1432921"/>
            <a:ext cx="567415" cy="806084"/>
          </a:xfrm>
          <a:prstGeom prst="line">
            <a:avLst/>
          </a:prstGeom>
          <a:ln w="19050">
            <a:solidFill>
              <a:schemeClr val="bg1"/>
            </a:solidFill>
            <a:round/>
            <a:headEnd type="oval"/>
            <a:tailEnd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uadroTexto 161">
            <a:extLst>
              <a:ext uri="{FF2B5EF4-FFF2-40B4-BE49-F238E27FC236}">
                <a16:creationId xmlns:a16="http://schemas.microsoft.com/office/drawing/2014/main" id="{A149CC82-2957-591F-0328-4E26194D4BA3}"/>
              </a:ext>
            </a:extLst>
          </p:cNvPr>
          <p:cNvSpPr txBox="1"/>
          <p:nvPr/>
        </p:nvSpPr>
        <p:spPr>
          <a:xfrm>
            <a:off x="269454" y="262757"/>
            <a:ext cx="8266546" cy="467645"/>
          </a:xfrm>
          <a:prstGeom prst="rect">
            <a:avLst/>
          </a:prstGeom>
          <a:solidFill>
            <a:schemeClr val="bg1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0" tIns="90000" rIns="0" bIns="90000" anchor="ctr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rgbClr val="000000"/>
                </a:solidFill>
              </a:defRPr>
            </a:lvl1pPr>
          </a:lstStyle>
          <a:p>
            <a:pPr marR="0" lvl="0" indent="0" algn="l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ST AIP BIO ETHANOL STEALTH TECHNOLOGY</a:t>
            </a:r>
            <a:endParaRPr lang="en-AU" sz="1600" b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l"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6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9393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Imagen 43">
            <a:extLst>
              <a:ext uri="{FF2B5EF4-FFF2-40B4-BE49-F238E27FC236}">
                <a16:creationId xmlns:a16="http://schemas.microsoft.com/office/drawing/2014/main" id="{374F582C-E928-9061-D1B1-760F29B587B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3142"/>
          <a:stretch/>
        </p:blipFill>
        <p:spPr>
          <a:xfrm>
            <a:off x="-2539" y="11575"/>
            <a:ext cx="12286831" cy="6858000"/>
          </a:xfrm>
          <a:prstGeom prst="rect">
            <a:avLst/>
          </a:prstGeom>
        </p:spPr>
      </p:pic>
      <p:sp>
        <p:nvSpPr>
          <p:cNvPr id="45" name="Rectangle 35">
            <a:extLst>
              <a:ext uri="{FF2B5EF4-FFF2-40B4-BE49-F238E27FC236}">
                <a16:creationId xmlns:a16="http://schemas.microsoft.com/office/drawing/2014/main" id="{BD33B46C-5CA1-EB86-6C84-FCF75F48A58A}"/>
              </a:ext>
            </a:extLst>
          </p:cNvPr>
          <p:cNvSpPr/>
          <p:nvPr/>
        </p:nvSpPr>
        <p:spPr>
          <a:xfrm>
            <a:off x="900436" y="1987798"/>
            <a:ext cx="2502516" cy="2063979"/>
          </a:xfrm>
          <a:prstGeom prst="rect">
            <a:avLst/>
          </a:prstGeom>
          <a:solidFill>
            <a:sysClr val="window" lastClr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27BF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6" name="Rectangle 37">
            <a:extLst>
              <a:ext uri="{FF2B5EF4-FFF2-40B4-BE49-F238E27FC236}">
                <a16:creationId xmlns:a16="http://schemas.microsoft.com/office/drawing/2014/main" id="{EA5411FE-BAFC-EA79-F65C-320AE88676B1}"/>
              </a:ext>
            </a:extLst>
          </p:cNvPr>
          <p:cNvSpPr/>
          <p:nvPr/>
        </p:nvSpPr>
        <p:spPr>
          <a:xfrm>
            <a:off x="3647239" y="1987798"/>
            <a:ext cx="2502516" cy="2063979"/>
          </a:xfrm>
          <a:prstGeom prst="rect">
            <a:avLst/>
          </a:prstGeom>
          <a:solidFill>
            <a:sysClr val="window" lastClr="FFFFFF"/>
          </a:solidFill>
          <a:ln w="9525" cap="rnd" cmpd="sng" algn="ctr">
            <a:solidFill>
              <a:sysClr val="window" lastClr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7" name="Rectangle 38">
            <a:extLst>
              <a:ext uri="{FF2B5EF4-FFF2-40B4-BE49-F238E27FC236}">
                <a16:creationId xmlns:a16="http://schemas.microsoft.com/office/drawing/2014/main" id="{8374E333-7713-D086-21D4-11DC38217B43}"/>
              </a:ext>
            </a:extLst>
          </p:cNvPr>
          <p:cNvSpPr/>
          <p:nvPr/>
        </p:nvSpPr>
        <p:spPr>
          <a:xfrm>
            <a:off x="6427824" y="1987798"/>
            <a:ext cx="2502516" cy="2063979"/>
          </a:xfrm>
          <a:prstGeom prst="rect">
            <a:avLst/>
          </a:prstGeom>
          <a:solidFill>
            <a:sysClr val="window" lastClr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8" name="Rectangle 40">
            <a:extLst>
              <a:ext uri="{FF2B5EF4-FFF2-40B4-BE49-F238E27FC236}">
                <a16:creationId xmlns:a16="http://schemas.microsoft.com/office/drawing/2014/main" id="{9C52F58F-2168-0499-A720-7DFB2428EC90}"/>
              </a:ext>
            </a:extLst>
          </p:cNvPr>
          <p:cNvSpPr/>
          <p:nvPr/>
        </p:nvSpPr>
        <p:spPr>
          <a:xfrm>
            <a:off x="9140844" y="1987798"/>
            <a:ext cx="2502516" cy="2063979"/>
          </a:xfrm>
          <a:prstGeom prst="rect">
            <a:avLst/>
          </a:prstGeom>
          <a:solidFill>
            <a:sysClr val="window" lastClr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27BF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9" name="TextBox 108">
            <a:extLst>
              <a:ext uri="{FF2B5EF4-FFF2-40B4-BE49-F238E27FC236}">
                <a16:creationId xmlns:a16="http://schemas.microsoft.com/office/drawing/2014/main" id="{95296154-B29D-BFC4-0F45-E0761929EB65}"/>
              </a:ext>
            </a:extLst>
          </p:cNvPr>
          <p:cNvSpPr txBox="1"/>
          <p:nvPr/>
        </p:nvSpPr>
        <p:spPr>
          <a:xfrm>
            <a:off x="3676418" y="2197507"/>
            <a:ext cx="2536299" cy="193437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86868" tIns="43434" rIns="86868" bIns="43434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5DB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intenanc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</a:t>
            </a:r>
          </a:p>
          <a:p>
            <a:pPr marL="243270" marR="0" lvl="1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DB6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Designed for no major component substitution between overhauls (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5DB6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6 years/&gt;5,000 h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)</a:t>
            </a:r>
          </a:p>
          <a:p>
            <a:pPr marL="215460" marR="0" lvl="1" indent="-14364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DB6"/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LRU embarkable through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5DB6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logistic hatch</a:t>
            </a:r>
          </a:p>
          <a:p>
            <a:pPr marL="215460" marR="0" lvl="1" indent="-14364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DB6"/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305C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+mn-cs"/>
            </a:endParaRPr>
          </a:p>
        </p:txBody>
      </p:sp>
      <p:sp>
        <p:nvSpPr>
          <p:cNvPr id="50" name="TextBox 110">
            <a:extLst>
              <a:ext uri="{FF2B5EF4-FFF2-40B4-BE49-F238E27FC236}">
                <a16:creationId xmlns:a16="http://schemas.microsoft.com/office/drawing/2014/main" id="{DD7D1B42-1079-DD74-DDF4-1A707E05AC76}"/>
              </a:ext>
            </a:extLst>
          </p:cNvPr>
          <p:cNvSpPr txBox="1"/>
          <p:nvPr/>
        </p:nvSpPr>
        <p:spPr>
          <a:xfrm>
            <a:off x="6490786" y="2206989"/>
            <a:ext cx="2502516" cy="156504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86868" tIns="43434" rIns="86868" bIns="43434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-36252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DB6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5DB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ange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everage the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5DB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ull depth range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periscope to MOD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5DB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ropical to sub-arctic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nvironments</a:t>
            </a:r>
          </a:p>
          <a:p>
            <a:pPr marL="7182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DB6"/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+mn-cs"/>
            </a:endParaRPr>
          </a:p>
        </p:txBody>
      </p:sp>
      <p:sp>
        <p:nvSpPr>
          <p:cNvPr id="51" name="TextBox 111">
            <a:extLst>
              <a:ext uri="{FF2B5EF4-FFF2-40B4-BE49-F238E27FC236}">
                <a16:creationId xmlns:a16="http://schemas.microsoft.com/office/drawing/2014/main" id="{CD7AFD30-B748-97C7-8648-7966A8B0C301}"/>
              </a:ext>
            </a:extLst>
          </p:cNvPr>
          <p:cNvSpPr txBox="1"/>
          <p:nvPr/>
        </p:nvSpPr>
        <p:spPr>
          <a:xfrm>
            <a:off x="9123827" y="2206486"/>
            <a:ext cx="2367389" cy="18112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86868" tIns="43434" rIns="86868" bIns="43434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-36252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DB6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5DB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vailability</a:t>
            </a:r>
          </a:p>
          <a:p>
            <a:pPr marL="246240" marR="0" lvl="1" indent="-16416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DB6"/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5DB6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High availability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all around the world</a:t>
            </a:r>
          </a:p>
          <a:p>
            <a:pPr marL="246240" marR="0" lvl="1" indent="-16416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DB6"/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Consider new threats and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5DB6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environmenta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 sustainability </a:t>
            </a:r>
          </a:p>
          <a:p>
            <a:pPr marL="0" marR="0" lvl="0" indent="-3816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DB6"/>
              </a:buClr>
              <a:buSzPct val="100000"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2" name="TextBox 71">
            <a:extLst>
              <a:ext uri="{FF2B5EF4-FFF2-40B4-BE49-F238E27FC236}">
                <a16:creationId xmlns:a16="http://schemas.microsoft.com/office/drawing/2014/main" id="{332F0FCC-E58B-5384-433A-24DCDD540337}"/>
              </a:ext>
            </a:extLst>
          </p:cNvPr>
          <p:cNvSpPr txBox="1"/>
          <p:nvPr/>
        </p:nvSpPr>
        <p:spPr>
          <a:xfrm>
            <a:off x="851318" y="2207286"/>
            <a:ext cx="2600753" cy="162659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86868" tIns="43434" rIns="86868" bIns="43434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5DB6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ubmerged endurance</a:t>
            </a:r>
          </a:p>
          <a:p>
            <a:pPr marL="243270" marR="0" lvl="1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DB6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Long submerged endurance (up to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5DB6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3 week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)</a:t>
            </a:r>
          </a:p>
          <a:p>
            <a:pPr marL="215460" marR="0" lvl="1" indent="-14364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DB6"/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5DB6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Liquid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 fuel to maximize endurance</a:t>
            </a:r>
          </a:p>
          <a:p>
            <a:pPr marL="215460" marR="0" lvl="1" indent="-14364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DB6"/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305C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3" name="Rectangle 50">
            <a:extLst>
              <a:ext uri="{FF2B5EF4-FFF2-40B4-BE49-F238E27FC236}">
                <a16:creationId xmlns:a16="http://schemas.microsoft.com/office/drawing/2014/main" id="{875B1BCF-8AE5-C158-B690-302DB7A5BBDE}"/>
              </a:ext>
            </a:extLst>
          </p:cNvPr>
          <p:cNvSpPr/>
          <p:nvPr/>
        </p:nvSpPr>
        <p:spPr>
          <a:xfrm>
            <a:off x="6394042" y="2027691"/>
            <a:ext cx="2502516" cy="206397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76000"/>
                  </a:schemeClr>
                </a:solidFill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4" name="Rectangle 51">
            <a:extLst>
              <a:ext uri="{FF2B5EF4-FFF2-40B4-BE49-F238E27FC236}">
                <a16:creationId xmlns:a16="http://schemas.microsoft.com/office/drawing/2014/main" id="{E3D1C00C-546C-E0EC-2950-31933EE7082D}"/>
              </a:ext>
            </a:extLst>
          </p:cNvPr>
          <p:cNvSpPr/>
          <p:nvPr/>
        </p:nvSpPr>
        <p:spPr>
          <a:xfrm>
            <a:off x="9140843" y="1987797"/>
            <a:ext cx="2502516" cy="206397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76000"/>
                  </a:schemeClr>
                </a:solidFill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5" name="Rectangle 48">
            <a:extLst>
              <a:ext uri="{FF2B5EF4-FFF2-40B4-BE49-F238E27FC236}">
                <a16:creationId xmlns:a16="http://schemas.microsoft.com/office/drawing/2014/main" id="{1BE509C3-86FA-6E79-EBE6-A18161B6BC90}"/>
              </a:ext>
            </a:extLst>
          </p:cNvPr>
          <p:cNvSpPr/>
          <p:nvPr/>
        </p:nvSpPr>
        <p:spPr>
          <a:xfrm>
            <a:off x="900436" y="1987798"/>
            <a:ext cx="2502516" cy="206397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76000"/>
                  </a:schemeClr>
                </a:solidFill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6" name="AutoShape 3">
            <a:extLst>
              <a:ext uri="{FF2B5EF4-FFF2-40B4-BE49-F238E27FC236}">
                <a16:creationId xmlns:a16="http://schemas.microsoft.com/office/drawing/2014/main" id="{A21AAC59-2A50-252D-88C3-C65E8D79114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892825" y="1632786"/>
            <a:ext cx="517728" cy="517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6868" tIns="43434" rIns="86868" bIns="43434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  <a:latin typeface="Tahoma"/>
            </a:endParaRPr>
          </a:p>
        </p:txBody>
      </p:sp>
      <p:pic>
        <p:nvPicPr>
          <p:cNvPr id="57" name="Imagen 56">
            <a:extLst>
              <a:ext uri="{FF2B5EF4-FFF2-40B4-BE49-F238E27FC236}">
                <a16:creationId xmlns:a16="http://schemas.microsoft.com/office/drawing/2014/main" id="{F41178E9-7AE8-2CC8-988B-1E3806BD39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10463" y="1644038"/>
            <a:ext cx="582501" cy="494727"/>
          </a:xfrm>
          <a:prstGeom prst="rect">
            <a:avLst/>
          </a:prstGeom>
        </p:spPr>
      </p:pic>
      <p:pic>
        <p:nvPicPr>
          <p:cNvPr id="58" name="Imagen 57">
            <a:extLst>
              <a:ext uri="{FF2B5EF4-FFF2-40B4-BE49-F238E27FC236}">
                <a16:creationId xmlns:a16="http://schemas.microsoft.com/office/drawing/2014/main" id="{E13300D5-3136-45C8-72B0-64C7135F99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6484" y="1650370"/>
            <a:ext cx="710410" cy="482063"/>
          </a:xfrm>
          <a:prstGeom prst="rect">
            <a:avLst/>
          </a:prstGeom>
          <a:solidFill>
            <a:sysClr val="window" lastClr="FFFFFF"/>
          </a:solidFill>
        </p:spPr>
      </p:pic>
      <p:pic>
        <p:nvPicPr>
          <p:cNvPr id="59" name="Imagen 58">
            <a:extLst>
              <a:ext uri="{FF2B5EF4-FFF2-40B4-BE49-F238E27FC236}">
                <a16:creationId xmlns:a16="http://schemas.microsoft.com/office/drawing/2014/main" id="{5B903EB3-583A-3750-E30C-6CC4FD686F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89377" y="1648108"/>
            <a:ext cx="676274" cy="486587"/>
          </a:xfrm>
          <a:prstGeom prst="rect">
            <a:avLst/>
          </a:prstGeom>
        </p:spPr>
      </p:pic>
      <p:pic>
        <p:nvPicPr>
          <p:cNvPr id="60" name="Imagen 59">
            <a:extLst>
              <a:ext uri="{FF2B5EF4-FFF2-40B4-BE49-F238E27FC236}">
                <a16:creationId xmlns:a16="http://schemas.microsoft.com/office/drawing/2014/main" id="{57500F1F-69D9-72EE-6840-E1F30F94A5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73024" y="1648108"/>
            <a:ext cx="500691" cy="486587"/>
          </a:xfrm>
          <a:prstGeom prst="rect">
            <a:avLst/>
          </a:prstGeom>
        </p:spPr>
      </p:pic>
      <p:sp>
        <p:nvSpPr>
          <p:cNvPr id="61" name="CuadroTexto 161">
            <a:extLst>
              <a:ext uri="{FF2B5EF4-FFF2-40B4-BE49-F238E27FC236}">
                <a16:creationId xmlns:a16="http://schemas.microsoft.com/office/drawing/2014/main" id="{D972FCC8-E103-CEF4-53F6-F91CB7D70C42}"/>
              </a:ext>
            </a:extLst>
          </p:cNvPr>
          <p:cNvSpPr txBox="1"/>
          <p:nvPr/>
        </p:nvSpPr>
        <p:spPr>
          <a:xfrm>
            <a:off x="900437" y="364522"/>
            <a:ext cx="10600340" cy="832336"/>
          </a:xfrm>
          <a:prstGeom prst="rect">
            <a:avLst/>
          </a:prstGeom>
          <a:solidFill>
            <a:srgbClr val="005DB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0" tIns="90000" rIns="0" bIns="90000" anchor="ctr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rgbClr val="000000"/>
                </a:solidFill>
              </a:defRPr>
            </a:lvl1pPr>
          </a:lstStyle>
          <a:p>
            <a:pPr marL="0" marR="0" lvl="0" indent="0" algn="ctr" defTabSz="91440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ird-generation air-independent propulsion system (AIP) </a:t>
            </a:r>
          </a:p>
          <a:p>
            <a:pPr marL="0" marR="0" lvl="0" indent="0" algn="ctr" defTabSz="91440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o Ethanol Stealth Technology based (BEST)</a:t>
            </a:r>
            <a:endParaRPr kumimoji="0" lang="en-AU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id="{0A439D33-1627-9EDC-ACA0-55BF9FD68A7B}"/>
              </a:ext>
            </a:extLst>
          </p:cNvPr>
          <p:cNvSpPr txBox="1"/>
          <p:nvPr/>
        </p:nvSpPr>
        <p:spPr>
          <a:xfrm>
            <a:off x="1607657" y="4254321"/>
            <a:ext cx="2895626" cy="136884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srgbClr val="E71C57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99994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C01CCF05-AFDB-27A3-7E91-43EEC97897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227005" cy="6933460"/>
          </a:xfrm>
          <a:prstGeom prst="rect">
            <a:avLst/>
          </a:prstGeom>
        </p:spPr>
      </p:pic>
      <p:grpSp>
        <p:nvGrpSpPr>
          <p:cNvPr id="39" name="Group 5">
            <a:extLst>
              <a:ext uri="{FF2B5EF4-FFF2-40B4-BE49-F238E27FC236}">
                <a16:creationId xmlns:a16="http://schemas.microsoft.com/office/drawing/2014/main" id="{F365BD49-32C7-493E-8495-47B40AF56526}"/>
              </a:ext>
            </a:extLst>
          </p:cNvPr>
          <p:cNvGrpSpPr/>
          <p:nvPr/>
        </p:nvGrpSpPr>
        <p:grpSpPr>
          <a:xfrm>
            <a:off x="-1" y="489473"/>
            <a:ext cx="9731995" cy="462579"/>
            <a:chOff x="-1" y="489473"/>
            <a:chExt cx="9731995" cy="462579"/>
          </a:xfrm>
        </p:grpSpPr>
        <p:pic>
          <p:nvPicPr>
            <p:cNvPr id="40" name="Picture 7">
              <a:extLst>
                <a:ext uri="{FF2B5EF4-FFF2-40B4-BE49-F238E27FC236}">
                  <a16:creationId xmlns:a16="http://schemas.microsoft.com/office/drawing/2014/main" id="{E6B139C6-65EB-43F2-B271-DEEB7FBA7E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2359293" y="489473"/>
              <a:ext cx="7372701" cy="462579"/>
            </a:xfrm>
            <a:prstGeom prst="rect">
              <a:avLst/>
            </a:prstGeom>
          </p:spPr>
        </p:pic>
        <p:pic>
          <p:nvPicPr>
            <p:cNvPr id="41" name="Picture 8">
              <a:extLst>
                <a:ext uri="{FF2B5EF4-FFF2-40B4-BE49-F238E27FC236}">
                  <a16:creationId xmlns:a16="http://schemas.microsoft.com/office/drawing/2014/main" id="{64514471-9F92-4909-A2A5-050134E858F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1" y="489473"/>
              <a:ext cx="7372701" cy="462579"/>
            </a:xfrm>
            <a:prstGeom prst="rect">
              <a:avLst/>
            </a:prstGeom>
          </p:spPr>
        </p:pic>
      </p:grpSp>
      <p:sp>
        <p:nvSpPr>
          <p:cNvPr id="43" name="Título 4">
            <a:extLst>
              <a:ext uri="{FF2B5EF4-FFF2-40B4-BE49-F238E27FC236}">
                <a16:creationId xmlns:a16="http://schemas.microsoft.com/office/drawing/2014/main" id="{80AB1694-3A06-4BF3-9310-3ECBC9D830B3}"/>
              </a:ext>
            </a:extLst>
          </p:cNvPr>
          <p:cNvSpPr txBox="1">
            <a:spLocks/>
          </p:cNvSpPr>
          <p:nvPr/>
        </p:nvSpPr>
        <p:spPr>
          <a:xfrm>
            <a:off x="198579" y="512520"/>
            <a:ext cx="8954546" cy="46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80 SUBMARINE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EGRATED SYSTEMS</a:t>
            </a: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DD89A15D-6D35-35A7-3BF2-7D44D044490C}"/>
              </a:ext>
            </a:extLst>
          </p:cNvPr>
          <p:cNvSpPr txBox="1"/>
          <p:nvPr/>
        </p:nvSpPr>
        <p:spPr>
          <a:xfrm>
            <a:off x="1550192" y="1179915"/>
            <a:ext cx="3265500" cy="523220"/>
          </a:xfrm>
          <a:prstGeom prst="rect">
            <a:avLst/>
          </a:prstGeom>
          <a:solidFill>
            <a:srgbClr val="005DB6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</a:rPr>
              <a:t>INTEGRATED COMMUNICATIONS SYSTEM</a:t>
            </a:r>
          </a:p>
        </p:txBody>
      </p:sp>
      <p:cxnSp>
        <p:nvCxnSpPr>
          <p:cNvPr id="48" name="Conector recto de flecha 47">
            <a:extLst>
              <a:ext uri="{FF2B5EF4-FFF2-40B4-BE49-F238E27FC236}">
                <a16:creationId xmlns:a16="http://schemas.microsoft.com/office/drawing/2014/main" id="{6A921D94-B6F3-7993-F421-119B5A47A73D}"/>
              </a:ext>
            </a:extLst>
          </p:cNvPr>
          <p:cNvCxnSpPr>
            <a:cxnSpLocks/>
            <a:stCxn id="47" idx="3"/>
          </p:cNvCxnSpPr>
          <p:nvPr/>
        </p:nvCxnSpPr>
        <p:spPr>
          <a:xfrm>
            <a:off x="4815692" y="1441525"/>
            <a:ext cx="1280307" cy="634163"/>
          </a:xfrm>
          <a:prstGeom prst="straightConnector1">
            <a:avLst/>
          </a:prstGeom>
          <a:noFill/>
          <a:ln w="28575" cap="flat" cmpd="sng" algn="ctr">
            <a:solidFill>
              <a:srgbClr val="FFC000"/>
            </a:solidFill>
            <a:prstDash val="solid"/>
            <a:tailEnd type="triangle"/>
          </a:ln>
          <a:effectLst/>
        </p:spPr>
      </p:cxnSp>
      <p:sp>
        <p:nvSpPr>
          <p:cNvPr id="49" name="CuadroTexto 48">
            <a:extLst>
              <a:ext uri="{FF2B5EF4-FFF2-40B4-BE49-F238E27FC236}">
                <a16:creationId xmlns:a16="http://schemas.microsoft.com/office/drawing/2014/main" id="{B643E17A-E2C0-D084-6773-62584886BD6E}"/>
              </a:ext>
            </a:extLst>
          </p:cNvPr>
          <p:cNvSpPr txBox="1"/>
          <p:nvPr/>
        </p:nvSpPr>
        <p:spPr>
          <a:xfrm>
            <a:off x="4255455" y="5644905"/>
            <a:ext cx="2793046" cy="523220"/>
          </a:xfrm>
          <a:prstGeom prst="rect">
            <a:avLst/>
          </a:prstGeom>
          <a:solidFill>
            <a:srgbClr val="005DB6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EGRATED PLATFORM MANAGEMENT SYSTEM</a:t>
            </a:r>
          </a:p>
        </p:txBody>
      </p:sp>
      <p:cxnSp>
        <p:nvCxnSpPr>
          <p:cNvPr id="50" name="Conector recto de flecha 49">
            <a:extLst>
              <a:ext uri="{FF2B5EF4-FFF2-40B4-BE49-F238E27FC236}">
                <a16:creationId xmlns:a16="http://schemas.microsoft.com/office/drawing/2014/main" id="{A692012C-62EB-5F2F-B3A3-E2B1BB277B81}"/>
              </a:ext>
            </a:extLst>
          </p:cNvPr>
          <p:cNvCxnSpPr>
            <a:cxnSpLocks/>
          </p:cNvCxnSpPr>
          <p:nvPr/>
        </p:nvCxnSpPr>
        <p:spPr>
          <a:xfrm flipV="1">
            <a:off x="5200305" y="4791456"/>
            <a:ext cx="331815" cy="837724"/>
          </a:xfrm>
          <a:prstGeom prst="straightConnector1">
            <a:avLst/>
          </a:prstGeom>
          <a:noFill/>
          <a:ln w="28575" cap="flat" cmpd="sng" algn="ctr">
            <a:solidFill>
              <a:srgbClr val="FFC000"/>
            </a:solidFill>
            <a:prstDash val="solid"/>
            <a:tailEnd type="triangle"/>
          </a:ln>
          <a:effectLst/>
        </p:spPr>
      </p:cxnSp>
      <p:cxnSp>
        <p:nvCxnSpPr>
          <p:cNvPr id="51" name="Conector recto de flecha 50">
            <a:extLst>
              <a:ext uri="{FF2B5EF4-FFF2-40B4-BE49-F238E27FC236}">
                <a16:creationId xmlns:a16="http://schemas.microsoft.com/office/drawing/2014/main" id="{702B44F6-088F-8159-DE64-F8A778D85DC5}"/>
              </a:ext>
            </a:extLst>
          </p:cNvPr>
          <p:cNvCxnSpPr>
            <a:cxnSpLocks/>
          </p:cNvCxnSpPr>
          <p:nvPr/>
        </p:nvCxnSpPr>
        <p:spPr>
          <a:xfrm flipH="1">
            <a:off x="8020850" y="2147725"/>
            <a:ext cx="1236322" cy="2643731"/>
          </a:xfrm>
          <a:prstGeom prst="straightConnector1">
            <a:avLst/>
          </a:prstGeom>
          <a:noFill/>
          <a:ln w="28575" cap="flat" cmpd="sng" algn="ctr">
            <a:solidFill>
              <a:srgbClr val="FFC000"/>
            </a:solidFill>
            <a:prstDash val="solid"/>
            <a:tailEnd type="triangle"/>
          </a:ln>
          <a:effectLst>
            <a:softEdge rad="0"/>
          </a:effectLst>
        </p:spPr>
      </p:cxnSp>
      <p:pic>
        <p:nvPicPr>
          <p:cNvPr id="52" name="Imagen 51">
            <a:extLst>
              <a:ext uri="{FF2B5EF4-FFF2-40B4-BE49-F238E27FC236}">
                <a16:creationId xmlns:a16="http://schemas.microsoft.com/office/drawing/2014/main" id="{B0466B5B-FC20-CFF4-00E5-90A65B833B9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385" y="1179582"/>
            <a:ext cx="761808" cy="523219"/>
          </a:xfrm>
          <a:prstGeom prst="rect">
            <a:avLst/>
          </a:prstGeom>
        </p:spPr>
      </p:pic>
      <p:pic>
        <p:nvPicPr>
          <p:cNvPr id="53" name="Imagen 52">
            <a:extLst>
              <a:ext uri="{FF2B5EF4-FFF2-40B4-BE49-F238E27FC236}">
                <a16:creationId xmlns:a16="http://schemas.microsoft.com/office/drawing/2014/main" id="{907232FC-B0C0-7772-04E6-8932879A15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9997" y="5644905"/>
            <a:ext cx="761808" cy="523221"/>
          </a:xfrm>
          <a:prstGeom prst="rect">
            <a:avLst/>
          </a:prstGeom>
        </p:spPr>
      </p:pic>
      <p:grpSp>
        <p:nvGrpSpPr>
          <p:cNvPr id="54" name="Grupo 53">
            <a:extLst>
              <a:ext uri="{FF2B5EF4-FFF2-40B4-BE49-F238E27FC236}">
                <a16:creationId xmlns:a16="http://schemas.microsoft.com/office/drawing/2014/main" id="{00D4F318-5294-7805-726A-038A5DD82350}"/>
              </a:ext>
            </a:extLst>
          </p:cNvPr>
          <p:cNvGrpSpPr/>
          <p:nvPr/>
        </p:nvGrpSpPr>
        <p:grpSpPr>
          <a:xfrm>
            <a:off x="8782658" y="1162217"/>
            <a:ext cx="2363063" cy="998172"/>
            <a:chOff x="8851998" y="2807760"/>
            <a:chExt cx="2363063" cy="998172"/>
          </a:xfrm>
        </p:grpSpPr>
        <p:pic>
          <p:nvPicPr>
            <p:cNvPr id="55" name="Picture 22">
              <a:extLst>
                <a:ext uri="{FF2B5EF4-FFF2-40B4-BE49-F238E27FC236}">
                  <a16:creationId xmlns:a16="http://schemas.microsoft.com/office/drawing/2014/main" id="{5FC75888-2E81-B3B1-5071-7B55C421284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02454" y="3293110"/>
              <a:ext cx="812607" cy="500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6" name="Imagen 55">
              <a:extLst>
                <a:ext uri="{FF2B5EF4-FFF2-40B4-BE49-F238E27FC236}">
                  <a16:creationId xmlns:a16="http://schemas.microsoft.com/office/drawing/2014/main" id="{86057CB9-F2C8-763F-8D92-62C026E50A6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4575"/>
            <a:stretch/>
          </p:blipFill>
          <p:spPr>
            <a:xfrm>
              <a:off x="9611323" y="3293110"/>
              <a:ext cx="791129" cy="500158"/>
            </a:xfrm>
            <a:prstGeom prst="rect">
              <a:avLst/>
            </a:prstGeom>
          </p:spPr>
        </p:pic>
        <p:pic>
          <p:nvPicPr>
            <p:cNvPr id="57" name="Imagen 56">
              <a:extLst>
                <a:ext uri="{FF2B5EF4-FFF2-40B4-BE49-F238E27FC236}">
                  <a16:creationId xmlns:a16="http://schemas.microsoft.com/office/drawing/2014/main" id="{BFAD4BAA-50EC-B775-4907-F305DD61D5E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51998" y="3301491"/>
              <a:ext cx="759326" cy="504441"/>
            </a:xfrm>
            <a:prstGeom prst="rect">
              <a:avLst/>
            </a:prstGeom>
          </p:spPr>
        </p:pic>
        <p:sp>
          <p:nvSpPr>
            <p:cNvPr id="58" name="CuadroTexto 57">
              <a:extLst>
                <a:ext uri="{FF2B5EF4-FFF2-40B4-BE49-F238E27FC236}">
                  <a16:creationId xmlns:a16="http://schemas.microsoft.com/office/drawing/2014/main" id="{23F32810-1296-2E35-2131-6FC15C703539}"/>
                </a:ext>
              </a:extLst>
            </p:cNvPr>
            <p:cNvSpPr txBox="1"/>
            <p:nvPr/>
          </p:nvSpPr>
          <p:spPr>
            <a:xfrm>
              <a:off x="8851998" y="2807760"/>
              <a:ext cx="2363063" cy="523220"/>
            </a:xfrm>
            <a:prstGeom prst="rect">
              <a:avLst/>
            </a:prstGeom>
            <a:solidFill>
              <a:srgbClr val="005DB6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INTEGRATED COMBAT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YSTEM CORE</a:t>
              </a:r>
            </a:p>
          </p:txBody>
        </p:sp>
      </p:grpSp>
      <p:grpSp>
        <p:nvGrpSpPr>
          <p:cNvPr id="59" name="Grupo 58">
            <a:extLst>
              <a:ext uri="{FF2B5EF4-FFF2-40B4-BE49-F238E27FC236}">
                <a16:creationId xmlns:a16="http://schemas.microsoft.com/office/drawing/2014/main" id="{772F41EA-F6D1-AFE9-01A6-F55EB0BB6F5D}"/>
              </a:ext>
            </a:extLst>
          </p:cNvPr>
          <p:cNvGrpSpPr/>
          <p:nvPr/>
        </p:nvGrpSpPr>
        <p:grpSpPr>
          <a:xfrm>
            <a:off x="9463570" y="4374654"/>
            <a:ext cx="2643818" cy="1057940"/>
            <a:chOff x="187130" y="3044933"/>
            <a:chExt cx="2643818" cy="1057940"/>
          </a:xfrm>
        </p:grpSpPr>
        <p:grpSp>
          <p:nvGrpSpPr>
            <p:cNvPr id="60" name="Grupo 59">
              <a:extLst>
                <a:ext uri="{FF2B5EF4-FFF2-40B4-BE49-F238E27FC236}">
                  <a16:creationId xmlns:a16="http://schemas.microsoft.com/office/drawing/2014/main" id="{BA92760A-88DA-3065-D65B-2E253C1E3ED8}"/>
                </a:ext>
              </a:extLst>
            </p:cNvPr>
            <p:cNvGrpSpPr/>
            <p:nvPr/>
          </p:nvGrpSpPr>
          <p:grpSpPr>
            <a:xfrm>
              <a:off x="1872498" y="3532305"/>
              <a:ext cx="952514" cy="329956"/>
              <a:chOff x="10777213" y="2520192"/>
              <a:chExt cx="952514" cy="329956"/>
            </a:xfrm>
          </p:grpSpPr>
          <p:sp>
            <p:nvSpPr>
              <p:cNvPr id="64" name="Rectángulo 63">
                <a:extLst>
                  <a:ext uri="{FF2B5EF4-FFF2-40B4-BE49-F238E27FC236}">
                    <a16:creationId xmlns:a16="http://schemas.microsoft.com/office/drawing/2014/main" id="{742ECCD2-1E4D-2625-315F-C98F72047ADB}"/>
                  </a:ext>
                </a:extLst>
              </p:cNvPr>
              <p:cNvSpPr/>
              <p:nvPr/>
            </p:nvSpPr>
            <p:spPr>
              <a:xfrm>
                <a:off x="10777213" y="2520192"/>
                <a:ext cx="952514" cy="329956"/>
              </a:xfrm>
              <a:prstGeom prst="rect">
                <a:avLst/>
              </a:prstGeom>
              <a:solidFill>
                <a:sysClr val="window" lastClr="FFFFFF">
                  <a:lumMod val="95000"/>
                </a:sysClr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endParaRPr>
              </a:p>
            </p:txBody>
          </p:sp>
          <p:pic>
            <p:nvPicPr>
              <p:cNvPr id="65" name="Imagen 6">
                <a:extLst>
                  <a:ext uri="{FF2B5EF4-FFF2-40B4-BE49-F238E27FC236}">
                    <a16:creationId xmlns:a16="http://schemas.microsoft.com/office/drawing/2014/main" id="{217FAEAB-8CB4-CD41-C14D-C49B5F1D60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777213" y="2520192"/>
                <a:ext cx="952514" cy="329956"/>
              </a:xfrm>
              <a:prstGeom prst="rect">
                <a:avLst/>
              </a:prstGeom>
            </p:spPr>
          </p:pic>
        </p:grpSp>
        <p:pic>
          <p:nvPicPr>
            <p:cNvPr id="61" name="Imagen 60">
              <a:extLst>
                <a:ext uri="{FF2B5EF4-FFF2-40B4-BE49-F238E27FC236}">
                  <a16:creationId xmlns:a16="http://schemas.microsoft.com/office/drawing/2014/main" id="{DD50B3DB-0F6F-7594-33F9-A96C4C45CFE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4144" y="3557852"/>
              <a:ext cx="793551" cy="545021"/>
            </a:xfrm>
            <a:prstGeom prst="rect">
              <a:avLst/>
            </a:prstGeom>
          </p:spPr>
        </p:pic>
        <p:pic>
          <p:nvPicPr>
            <p:cNvPr id="62" name="Picture 22">
              <a:extLst>
                <a:ext uri="{FF2B5EF4-FFF2-40B4-BE49-F238E27FC236}">
                  <a16:creationId xmlns:a16="http://schemas.microsoft.com/office/drawing/2014/main" id="{BDBDF570-92AC-C180-3CBA-EAB3A496CA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7812" y="3549471"/>
              <a:ext cx="903221" cy="5513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3" name="CuadroTexto 62">
              <a:extLst>
                <a:ext uri="{FF2B5EF4-FFF2-40B4-BE49-F238E27FC236}">
                  <a16:creationId xmlns:a16="http://schemas.microsoft.com/office/drawing/2014/main" id="{5794E922-03C3-35E5-B9A4-87E374C1A136}"/>
                </a:ext>
              </a:extLst>
            </p:cNvPr>
            <p:cNvSpPr txBox="1"/>
            <p:nvPr/>
          </p:nvSpPr>
          <p:spPr>
            <a:xfrm>
              <a:off x="187130" y="3044933"/>
              <a:ext cx="2643818" cy="523220"/>
            </a:xfrm>
            <a:prstGeom prst="rect">
              <a:avLst/>
            </a:prstGeom>
            <a:solidFill>
              <a:srgbClr val="005DB6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ACTICAL &amp; PLATFORM SIMULATORS</a:t>
              </a:r>
            </a:p>
          </p:txBody>
        </p:sp>
      </p:grpSp>
      <p:cxnSp>
        <p:nvCxnSpPr>
          <p:cNvPr id="66" name="Conector recto de flecha 65">
            <a:extLst>
              <a:ext uri="{FF2B5EF4-FFF2-40B4-BE49-F238E27FC236}">
                <a16:creationId xmlns:a16="http://schemas.microsoft.com/office/drawing/2014/main" id="{3CC4ECD2-6876-FC5D-27BD-D7732D64ADA6}"/>
              </a:ext>
            </a:extLst>
          </p:cNvPr>
          <p:cNvCxnSpPr>
            <a:cxnSpLocks/>
            <a:stCxn id="63" idx="0"/>
          </p:cNvCxnSpPr>
          <p:nvPr/>
        </p:nvCxnSpPr>
        <p:spPr>
          <a:xfrm flipV="1">
            <a:off x="10785479" y="3948369"/>
            <a:ext cx="533363" cy="426285"/>
          </a:xfrm>
          <a:prstGeom prst="straightConnector1">
            <a:avLst/>
          </a:prstGeom>
          <a:noFill/>
          <a:ln w="28575" cap="flat" cmpd="sng" algn="ctr">
            <a:solidFill>
              <a:srgbClr val="FFC000"/>
            </a:solidFill>
            <a:prstDash val="soli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7402188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5">
            <a:extLst>
              <a:ext uri="{FF2B5EF4-FFF2-40B4-BE49-F238E27FC236}">
                <a16:creationId xmlns:a16="http://schemas.microsoft.com/office/drawing/2014/main" id="{F365BD49-32C7-493E-8495-47B40AF56526}"/>
              </a:ext>
            </a:extLst>
          </p:cNvPr>
          <p:cNvGrpSpPr/>
          <p:nvPr/>
        </p:nvGrpSpPr>
        <p:grpSpPr>
          <a:xfrm>
            <a:off x="-1" y="489473"/>
            <a:ext cx="9731995" cy="462579"/>
            <a:chOff x="-1" y="489473"/>
            <a:chExt cx="9731995" cy="462579"/>
          </a:xfrm>
        </p:grpSpPr>
        <p:pic>
          <p:nvPicPr>
            <p:cNvPr id="40" name="Picture 7">
              <a:extLst>
                <a:ext uri="{FF2B5EF4-FFF2-40B4-BE49-F238E27FC236}">
                  <a16:creationId xmlns:a16="http://schemas.microsoft.com/office/drawing/2014/main" id="{E6B139C6-65EB-43F2-B271-DEEB7FBA7E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2359293" y="489473"/>
              <a:ext cx="7372701" cy="462579"/>
            </a:xfrm>
            <a:prstGeom prst="rect">
              <a:avLst/>
            </a:prstGeom>
          </p:spPr>
        </p:pic>
        <p:pic>
          <p:nvPicPr>
            <p:cNvPr id="41" name="Picture 8">
              <a:extLst>
                <a:ext uri="{FF2B5EF4-FFF2-40B4-BE49-F238E27FC236}">
                  <a16:creationId xmlns:a16="http://schemas.microsoft.com/office/drawing/2014/main" id="{64514471-9F92-4909-A2A5-050134E858F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" y="489473"/>
              <a:ext cx="7372701" cy="462579"/>
            </a:xfrm>
            <a:prstGeom prst="rect">
              <a:avLst/>
            </a:prstGeom>
          </p:spPr>
        </p:pic>
      </p:grpSp>
      <p:sp>
        <p:nvSpPr>
          <p:cNvPr id="43" name="Título 4">
            <a:extLst>
              <a:ext uri="{FF2B5EF4-FFF2-40B4-BE49-F238E27FC236}">
                <a16:creationId xmlns:a16="http://schemas.microsoft.com/office/drawing/2014/main" id="{80AB1694-3A06-4BF3-9310-3ECBC9D830B3}"/>
              </a:ext>
            </a:extLst>
          </p:cNvPr>
          <p:cNvSpPr txBox="1">
            <a:spLocks/>
          </p:cNvSpPr>
          <p:nvPr/>
        </p:nvSpPr>
        <p:spPr>
          <a:xfrm>
            <a:off x="198579" y="512520"/>
            <a:ext cx="8954546" cy="46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80 SUBMARINE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BAT SYSTEM</a:t>
            </a: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7" name="Imagen 46">
            <a:extLst>
              <a:ext uri="{FF2B5EF4-FFF2-40B4-BE49-F238E27FC236}">
                <a16:creationId xmlns:a16="http://schemas.microsoft.com/office/drawing/2014/main" id="{D84D3380-1AD9-0A95-E76E-CB55A506AF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2784" y="1025622"/>
            <a:ext cx="9257487" cy="5879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8066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5">
            <a:extLst>
              <a:ext uri="{FF2B5EF4-FFF2-40B4-BE49-F238E27FC236}">
                <a16:creationId xmlns:a16="http://schemas.microsoft.com/office/drawing/2014/main" id="{F365BD49-32C7-493E-8495-47B40AF56526}"/>
              </a:ext>
            </a:extLst>
          </p:cNvPr>
          <p:cNvGrpSpPr/>
          <p:nvPr/>
        </p:nvGrpSpPr>
        <p:grpSpPr>
          <a:xfrm>
            <a:off x="-1" y="489473"/>
            <a:ext cx="9731995" cy="462579"/>
            <a:chOff x="-1" y="489473"/>
            <a:chExt cx="9731995" cy="462579"/>
          </a:xfrm>
        </p:grpSpPr>
        <p:pic>
          <p:nvPicPr>
            <p:cNvPr id="40" name="Picture 7">
              <a:extLst>
                <a:ext uri="{FF2B5EF4-FFF2-40B4-BE49-F238E27FC236}">
                  <a16:creationId xmlns:a16="http://schemas.microsoft.com/office/drawing/2014/main" id="{E6B139C6-65EB-43F2-B271-DEEB7FBA7E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2359293" y="489473"/>
              <a:ext cx="7372701" cy="462579"/>
            </a:xfrm>
            <a:prstGeom prst="rect">
              <a:avLst/>
            </a:prstGeom>
          </p:spPr>
        </p:pic>
        <p:pic>
          <p:nvPicPr>
            <p:cNvPr id="41" name="Picture 8">
              <a:extLst>
                <a:ext uri="{FF2B5EF4-FFF2-40B4-BE49-F238E27FC236}">
                  <a16:creationId xmlns:a16="http://schemas.microsoft.com/office/drawing/2014/main" id="{64514471-9F92-4909-A2A5-050134E858F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" y="489473"/>
              <a:ext cx="7372701" cy="462579"/>
            </a:xfrm>
            <a:prstGeom prst="rect">
              <a:avLst/>
            </a:prstGeom>
          </p:spPr>
        </p:pic>
      </p:grpSp>
      <p:sp>
        <p:nvSpPr>
          <p:cNvPr id="43" name="Título 4">
            <a:extLst>
              <a:ext uri="{FF2B5EF4-FFF2-40B4-BE49-F238E27FC236}">
                <a16:creationId xmlns:a16="http://schemas.microsoft.com/office/drawing/2014/main" id="{80AB1694-3A06-4BF3-9310-3ECBC9D830B3}"/>
              </a:ext>
            </a:extLst>
          </p:cNvPr>
          <p:cNvSpPr txBox="1">
            <a:spLocks/>
          </p:cNvSpPr>
          <p:nvPr/>
        </p:nvSpPr>
        <p:spPr>
          <a:xfrm>
            <a:off x="198579" y="512520"/>
            <a:ext cx="8954546" cy="46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80 SUBMARINE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</a:t>
            </a:r>
            <a:r>
              <a:rPr lang="en-US" sz="3200" dirty="0">
                <a:solidFill>
                  <a:schemeClr val="accent5">
                    <a:lumMod val="60000"/>
                    <a:lumOff val="4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APON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60000"/>
                    <a:lumOff val="40000"/>
                  </a:scheme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YSTEM</a:t>
            </a: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C284A9C6-2161-2117-C560-3D9695D453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579" y="1084519"/>
            <a:ext cx="6923176" cy="3836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3">
            <a:extLst>
              <a:ext uri="{FF2B5EF4-FFF2-40B4-BE49-F238E27FC236}">
                <a16:creationId xmlns:a16="http://schemas.microsoft.com/office/drawing/2014/main" id="{12B5D098-E0D4-199E-6C18-26DCA7B57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9425" y="998146"/>
            <a:ext cx="4252365" cy="2873465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>
              <a:spcBef>
                <a:spcPct val="20000"/>
              </a:spcBef>
              <a:defRPr sz="2000">
                <a:solidFill>
                  <a:srgbClr val="002850"/>
                </a:solidFill>
                <a:latin typeface="Arial" panose="020B0604020202020204" pitchFamily="34" charset="0"/>
              </a:defRPr>
            </a:lvl1pPr>
            <a:lvl2pPr marL="819150" indent="-285750">
              <a:spcBef>
                <a:spcPct val="20000"/>
              </a:spcBef>
              <a:defRPr>
                <a:solidFill>
                  <a:srgbClr val="00285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defRPr sz="1600">
                <a:solidFill>
                  <a:srgbClr val="00285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defRPr sz="1400">
                <a:solidFill>
                  <a:srgbClr val="00285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>
              <a:spcBef>
                <a:spcPct val="30000"/>
              </a:spcBef>
              <a:defRPr/>
            </a:pPr>
            <a:endParaRPr lang="es-ES" altLang="es-ES" sz="1800" b="1" dirty="0">
              <a:solidFill>
                <a:srgbClr val="002060"/>
              </a:solidFill>
              <a:latin typeface="Tahoma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spcBef>
                <a:spcPct val="30000"/>
              </a:spcBef>
              <a:defRPr/>
            </a:pPr>
            <a:r>
              <a:rPr lang="es-ES" altLang="es-ES" sz="1800" b="1" dirty="0" err="1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Weapons</a:t>
            </a:r>
            <a:r>
              <a:rPr lang="es-ES" altLang="es-ES" sz="1800" b="1" dirty="0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marL="285750" indent="-285750">
              <a:spcBef>
                <a:spcPct val="30000"/>
              </a:spcBef>
              <a:buFont typeface="Arial" panose="020B0604020202020204" pitchFamily="34" charset="0"/>
              <a:buChar char="•"/>
              <a:defRPr/>
            </a:pPr>
            <a:r>
              <a:rPr lang="es-ES" altLang="es-ES" sz="1800" dirty="0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DM2A4 Torpedo</a:t>
            </a:r>
          </a:p>
          <a:p>
            <a:pPr marL="285750" indent="-285750">
              <a:spcBef>
                <a:spcPct val="30000"/>
              </a:spcBef>
              <a:buFont typeface="Arial" panose="020B0604020202020204" pitchFamily="34" charset="0"/>
              <a:buChar char="•"/>
              <a:defRPr/>
            </a:pPr>
            <a:r>
              <a:rPr lang="es-ES" altLang="es-ES" sz="1800" dirty="0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Sub-</a:t>
            </a:r>
            <a:r>
              <a:rPr lang="es-ES" altLang="es-ES" sz="1800" dirty="0" err="1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Harpoon</a:t>
            </a:r>
            <a:r>
              <a:rPr lang="es-ES" altLang="es-ES" sz="1800" dirty="0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altLang="es-ES" sz="1800" dirty="0" err="1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Missile</a:t>
            </a:r>
            <a:endParaRPr lang="es-ES" altLang="es-ES" sz="1800" dirty="0">
              <a:solidFill>
                <a:srgbClr val="002060"/>
              </a:solidFill>
              <a:latin typeface="Tahoma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Bef>
                <a:spcPct val="30000"/>
              </a:spcBef>
              <a:buFont typeface="Arial" panose="020B0604020202020204" pitchFamily="34" charset="0"/>
              <a:buChar char="•"/>
              <a:defRPr/>
            </a:pPr>
            <a:r>
              <a:rPr lang="es-ES" altLang="es-ES" sz="1800" dirty="0" err="1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Spanish</a:t>
            </a:r>
            <a:r>
              <a:rPr lang="es-ES" altLang="es-ES" sz="1800" dirty="0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 Mine</a:t>
            </a:r>
          </a:p>
          <a:p>
            <a:pPr marL="285750" indent="-285750">
              <a:spcBef>
                <a:spcPct val="30000"/>
              </a:spcBef>
              <a:buFont typeface="Arial" panose="020B0604020202020204" pitchFamily="34" charset="0"/>
              <a:buChar char="•"/>
              <a:defRPr/>
            </a:pPr>
            <a:r>
              <a:rPr lang="es-ES" altLang="es-ES" sz="1800" dirty="0" err="1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Fitted</a:t>
            </a:r>
            <a:r>
              <a:rPr lang="es-ES" altLang="es-ES" sz="1800" dirty="0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altLang="es-ES" sz="1800" dirty="0" err="1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for</a:t>
            </a:r>
            <a:r>
              <a:rPr lang="es-ES" altLang="es-ES" sz="1800" dirty="0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 Tomahawk </a:t>
            </a:r>
            <a:r>
              <a:rPr lang="es-ES" altLang="es-ES" sz="1800" dirty="0" err="1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Missile</a:t>
            </a:r>
            <a:endParaRPr lang="es-ES" altLang="es-ES" sz="1800" dirty="0">
              <a:solidFill>
                <a:srgbClr val="002060"/>
              </a:solidFill>
              <a:latin typeface="Tahoma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Bef>
                <a:spcPct val="30000"/>
              </a:spcBef>
              <a:buFont typeface="Arial" panose="020B0604020202020204" pitchFamily="34" charset="0"/>
              <a:buChar char="•"/>
              <a:defRPr/>
            </a:pPr>
            <a:r>
              <a:rPr lang="es-ES" altLang="es-ES" sz="1800" dirty="0" err="1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Ready</a:t>
            </a:r>
            <a:r>
              <a:rPr lang="es-ES" altLang="es-ES" sz="1800" dirty="0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altLang="es-ES" sz="1800" dirty="0" err="1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for</a:t>
            </a:r>
            <a:r>
              <a:rPr lang="es-ES" altLang="es-ES" sz="1800" dirty="0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 MK48 Torpedo</a:t>
            </a:r>
            <a:endParaRPr lang="es-ES" altLang="es-ES" sz="1800" dirty="0">
              <a:solidFill>
                <a:srgbClr val="002060"/>
              </a:solidFill>
              <a:latin typeface="Tahoma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E85F3791-4B8C-EE16-175C-F28D2B845C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9425" y="3365731"/>
            <a:ext cx="4252365" cy="1554931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342900" indent="-342900">
              <a:spcBef>
                <a:spcPct val="20000"/>
              </a:spcBef>
              <a:defRPr sz="2000">
                <a:solidFill>
                  <a:srgbClr val="002850"/>
                </a:solidFill>
                <a:latin typeface="Arial" panose="020B0604020202020204" pitchFamily="34" charset="0"/>
              </a:defRPr>
            </a:lvl1pPr>
            <a:lvl2pPr marL="819150" indent="-285750">
              <a:spcBef>
                <a:spcPct val="20000"/>
              </a:spcBef>
              <a:defRPr>
                <a:solidFill>
                  <a:srgbClr val="00285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defRPr sz="1600">
                <a:solidFill>
                  <a:srgbClr val="00285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defRPr sz="1400">
                <a:solidFill>
                  <a:srgbClr val="00285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30000"/>
              </a:spcBef>
              <a:buFont typeface="Wingdings" panose="05000000000000000000" pitchFamily="2" charset="2"/>
              <a:buChar char="ü"/>
              <a:defRPr/>
            </a:pPr>
            <a:endParaRPr lang="es-ES" altLang="es-ES" sz="18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spcBef>
                <a:spcPct val="30000"/>
              </a:spcBef>
            </a:pPr>
            <a:r>
              <a:rPr lang="es-ES" altLang="es-ES" sz="1800" b="1" dirty="0" err="1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Acoustic</a:t>
            </a:r>
            <a:r>
              <a:rPr lang="es-ES" altLang="es-ES" sz="1800" b="1" dirty="0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altLang="es-ES" sz="1800" b="1" dirty="0" err="1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Countermeasures</a:t>
            </a:r>
            <a:r>
              <a:rPr lang="es-ES" altLang="es-ES" sz="1800" b="1" dirty="0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marL="285750" indent="-285750">
              <a:spcBef>
                <a:spcPct val="30000"/>
              </a:spcBef>
              <a:buFont typeface="Arial" panose="020B0604020202020204" pitchFamily="34" charset="0"/>
              <a:buChar char="•"/>
            </a:pPr>
            <a:r>
              <a:rPr lang="es-ES" altLang="es-ES" sz="1800" dirty="0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SUBSCUT</a:t>
            </a:r>
          </a:p>
          <a:p>
            <a:pPr marL="285750" indent="-285750">
              <a:spcBef>
                <a:spcPct val="30000"/>
              </a:spcBef>
              <a:buFont typeface="Arial" panose="020B0604020202020204" pitchFamily="34" charset="0"/>
              <a:buChar char="•"/>
            </a:pPr>
            <a:r>
              <a:rPr lang="es-ES" altLang="es-ES" sz="1800" dirty="0">
                <a:solidFill>
                  <a:srgbClr val="00206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NAE Beacon</a:t>
            </a:r>
          </a:p>
          <a:p>
            <a:pPr>
              <a:spcBef>
                <a:spcPct val="30000"/>
              </a:spcBef>
              <a:buFont typeface="Wingdings" panose="05000000000000000000" pitchFamily="2" charset="2"/>
              <a:buChar char="ü"/>
              <a:defRPr/>
            </a:pPr>
            <a:endParaRPr lang="es-ES" altLang="es-ES" sz="1800" dirty="0">
              <a:solidFill>
                <a:srgbClr val="002060"/>
              </a:solidFill>
              <a:latin typeface="Tahoma"/>
            </a:endParaRPr>
          </a:p>
        </p:txBody>
      </p:sp>
      <p:pic>
        <p:nvPicPr>
          <p:cNvPr id="7" name="Imagen 2">
            <a:extLst>
              <a:ext uri="{FF2B5EF4-FFF2-40B4-BE49-F238E27FC236}">
                <a16:creationId xmlns:a16="http://schemas.microsoft.com/office/drawing/2014/main" id="{B435DBBC-40B6-4D32-27BD-69A8B2392D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00" b="7529"/>
          <a:stretch/>
        </p:blipFill>
        <p:spPr bwMode="auto">
          <a:xfrm>
            <a:off x="418187" y="4985267"/>
            <a:ext cx="3802908" cy="1036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UAA02">
            <a:extLst>
              <a:ext uri="{FF2B5EF4-FFF2-40B4-BE49-F238E27FC236}">
                <a16:creationId xmlns:a16="http://schemas.microsoft.com/office/drawing/2014/main" id="{C25C7A23-45FF-F8F6-1A6F-0F0C78E418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3509" y="4985267"/>
            <a:ext cx="1390692" cy="834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19D1E9DD-D8A9-0961-E576-9AB41283D2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56615" y="4998452"/>
            <a:ext cx="1265140" cy="821232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80DCEE02-9D19-9D8C-C45F-B72C01E0A0A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74076" y="5940098"/>
            <a:ext cx="1232310" cy="761094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B7434E4E-14D9-81B5-4630-7BF0FF08FEE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43509" y="5937882"/>
            <a:ext cx="1408154" cy="763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8141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0">
      <a:dk1>
        <a:srgbClr val="000000"/>
      </a:dk1>
      <a:lt1>
        <a:sysClr val="window" lastClr="FFFFFF"/>
      </a:lt1>
      <a:dk2>
        <a:srgbClr val="EDEDED"/>
      </a:dk2>
      <a:lt2>
        <a:srgbClr val="000000"/>
      </a:lt2>
      <a:accent1>
        <a:srgbClr val="002957"/>
      </a:accent1>
      <a:accent2>
        <a:srgbClr val="5BC1D4"/>
      </a:accent2>
      <a:accent3>
        <a:srgbClr val="707172"/>
      </a:accent3>
      <a:accent4>
        <a:srgbClr val="4D6989"/>
      </a:accent4>
      <a:accent5>
        <a:srgbClr val="07606E"/>
      </a:accent5>
      <a:accent6>
        <a:srgbClr val="4472C4"/>
      </a:accent6>
      <a:hlink>
        <a:srgbClr val="707172"/>
      </a:hlink>
      <a:folHlink>
        <a:srgbClr val="7071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</a:spPr>
      <a:bodyPr lIns="0" tIns="0" rIns="0" bIns="0" rtlCol="0" anchor="t" anchorCtr="0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lank" id="{6601E55F-8967-4965-A6B0-E23BD4EDAF00}" vid="{0626891A-FC64-4958-868D-E03908D04EF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55B3145AD4D5864F85B35417A1832BC6" ma:contentTypeVersion="8" ma:contentTypeDescription="Crear nuevo documento." ma:contentTypeScope="" ma:versionID="be608c007c0cdf76e72cfe4dbc900b05">
  <xsd:schema xmlns:xsd="http://www.w3.org/2001/XMLSchema" xmlns:xs="http://www.w3.org/2001/XMLSchema" xmlns:p="http://schemas.microsoft.com/office/2006/metadata/properties" xmlns:ns2="6ea72e03-5d4e-45b5-949b-e7fb75a08f1f" xmlns:ns3="5d75542b-2923-4cc1-8552-74a6ee91d476" targetNamespace="http://schemas.microsoft.com/office/2006/metadata/properties" ma:root="true" ma:fieldsID="a98257872c4d2d22310904217587ffe3" ns2:_="" ns3:_="">
    <xsd:import namespace="6ea72e03-5d4e-45b5-949b-e7fb75a08f1f"/>
    <xsd:import namespace="5d75542b-2923-4cc1-8552-74a6ee91d47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a72e03-5d4e-45b5-949b-e7fb75a08f1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Etiquetas de imagen" ma:readOnly="false" ma:fieldId="{5cf76f15-5ced-4ddc-b409-7134ff3c332f}" ma:taxonomyMulti="true" ma:sspId="b3eade16-6308-47fc-8f55-cf39110bcd3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75542b-2923-4cc1-8552-74a6ee91d476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82b7e4e5-02bd-4e8e-a279-c0378334aac4}" ma:internalName="TaxCatchAll" ma:showField="CatchAllData" ma:web="5d75542b-2923-4cc1-8552-74a6ee91d47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ea72e03-5d4e-45b5-949b-e7fb75a08f1f">
      <Terms xmlns="http://schemas.microsoft.com/office/infopath/2007/PartnerControls"/>
    </lcf76f155ced4ddcb4097134ff3c332f>
    <TaxCatchAll xmlns="5d75542b-2923-4cc1-8552-74a6ee91d476" xsi:nil="true"/>
  </documentManagement>
</p:properties>
</file>

<file path=customXml/itemProps1.xml><?xml version="1.0" encoding="utf-8"?>
<ds:datastoreItem xmlns:ds="http://schemas.openxmlformats.org/officeDocument/2006/customXml" ds:itemID="{4CD170AA-D72E-4FD9-A505-6076BB7FB9A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C64AAB3-4FE3-471A-9D3B-6DC645C53D1E}"/>
</file>

<file path=customXml/itemProps3.xml><?xml version="1.0" encoding="utf-8"?>
<ds:datastoreItem xmlns:ds="http://schemas.openxmlformats.org/officeDocument/2006/customXml" ds:itemID="{9FB49CD5-1407-4AD2-9D9D-DD8926367AC4}">
  <ds:schemaRefs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c16ad417-17d7-4ccc-896d-4469ccb2cde1"/>
    <ds:schemaRef ds:uri="http://purl.org/dc/terms/"/>
    <ds:schemaRef ds:uri="http://schemas.microsoft.com/office/2006/documentManagement/type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849</TotalTime>
  <Words>629</Words>
  <Application>Microsoft Office PowerPoint</Application>
  <PresentationFormat>Panorámica</PresentationFormat>
  <Paragraphs>144</Paragraphs>
  <Slides>22</Slides>
  <Notes>3</Notes>
  <HiddenSlides>0</HiddenSlides>
  <MMClips>1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2</vt:i4>
      </vt:variant>
    </vt:vector>
  </HeadingPairs>
  <TitlesOfParts>
    <vt:vector size="34" baseType="lpstr">
      <vt:lpstr>NSimSun</vt:lpstr>
      <vt:lpstr>Arial</vt:lpstr>
      <vt:lpstr>Calibri</vt:lpstr>
      <vt:lpstr>Calibri Light</vt:lpstr>
      <vt:lpstr>GarageGothic-Bold</vt:lpstr>
      <vt:lpstr>Gotham Book</vt:lpstr>
      <vt:lpstr>Mercury Text G1</vt:lpstr>
      <vt:lpstr>Tahoma</vt:lpstr>
      <vt:lpstr>Trebuchet MS</vt:lpstr>
      <vt:lpstr>Wingdings</vt:lpstr>
      <vt:lpstr>Office Them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mantha Cheung</dc:creator>
  <cp:lastModifiedBy>Díaz Díaz, Jaime (CA)</cp:lastModifiedBy>
  <cp:revision>98</cp:revision>
  <cp:lastPrinted>2021-11-27T17:05:24Z</cp:lastPrinted>
  <dcterms:created xsi:type="dcterms:W3CDTF">2017-09-03T23:37:37Z</dcterms:created>
  <dcterms:modified xsi:type="dcterms:W3CDTF">2023-05-18T16:58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06D57E69E41A4EAA364429ADD066B1</vt:lpwstr>
  </property>
  <property fmtid="{D5CDD505-2E9C-101B-9397-08002B2CF9AE}" pid="3" name="MediaServiceImageTags">
    <vt:lpwstr/>
  </property>
</Properties>
</file>